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29"/>
  </p:notesMasterIdLst>
  <p:sldIdLst>
    <p:sldId id="3245" r:id="rId5"/>
    <p:sldId id="3246" r:id="rId6"/>
    <p:sldId id="3247" r:id="rId7"/>
    <p:sldId id="3239" r:id="rId8"/>
    <p:sldId id="3277" r:id="rId9"/>
    <p:sldId id="3242" r:id="rId10"/>
    <p:sldId id="3282" r:id="rId11"/>
    <p:sldId id="3283" r:id="rId12"/>
    <p:sldId id="3278" r:id="rId13"/>
    <p:sldId id="3284" r:id="rId14"/>
    <p:sldId id="3280" r:id="rId15"/>
    <p:sldId id="3281" r:id="rId16"/>
    <p:sldId id="3253" r:id="rId17"/>
    <p:sldId id="3254" r:id="rId18"/>
    <p:sldId id="3256" r:id="rId19"/>
    <p:sldId id="3251" r:id="rId20"/>
    <p:sldId id="3234" r:id="rId21"/>
    <p:sldId id="3271" r:id="rId22"/>
    <p:sldId id="3268" r:id="rId23"/>
    <p:sldId id="3262" r:id="rId24"/>
    <p:sldId id="3259" r:id="rId25"/>
    <p:sldId id="3285" r:id="rId26"/>
    <p:sldId id="3255" r:id="rId27"/>
    <p:sldId id="3264" r:id="rId28"/>
  </p:sldIdLst>
  <p:sldSz cx="12192000" cy="6858000"/>
  <p:notesSz cx="6858000" cy="9144000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chmidbauer Hardy" initials="SH" lastIdx="19" clrIdx="0">
    <p:extLst>
      <p:ext uri="{19B8F6BF-5375-455C-9EA6-DF929625EA0E}">
        <p15:presenceInfo xmlns:p15="http://schemas.microsoft.com/office/powerpoint/2012/main" userId="S::hardy.schmidbauer@nagra.com::5b5357ae-ae94-47ab-bdfe-dc03b122559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74AA"/>
    <a:srgbClr val="494949"/>
    <a:srgbClr val="202C55"/>
    <a:srgbClr val="F3F2F1"/>
    <a:srgbClr val="D0E5F2"/>
    <a:srgbClr val="03AE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473F347-30E6-4F99-BD43-7C0AE76DCA8B}" v="3244" dt="2024-07-08T09:19:56.0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327" autoAdjust="0"/>
    <p:restoredTop sz="85286" autoAdjust="0"/>
  </p:normalViewPr>
  <p:slideViewPr>
    <p:cSldViewPr snapToGrid="0">
      <p:cViewPr varScale="1">
        <p:scale>
          <a:sx n="60" d="100"/>
          <a:sy n="60" d="100"/>
        </p:scale>
        <p:origin x="620" y="32"/>
      </p:cViewPr>
      <p:guideLst/>
    </p:cSldViewPr>
  </p:slideViewPr>
  <p:outlineViewPr>
    <p:cViewPr>
      <p:scale>
        <a:sx n="33" d="100"/>
        <a:sy n="33" d="100"/>
      </p:scale>
      <p:origin x="0" y="-6708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5694" y="21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erugo Pace" userId="2226acec-25d1-48aa-b467-65eac8578bef" providerId="ADAL" clId="{C473F347-30E6-4F99-BD43-7C0AE76DCA8B}"/>
    <pc:docChg chg="undo redo custSel addSld delSld modSld sldOrd">
      <pc:chgData name="Pierugo Pace" userId="2226acec-25d1-48aa-b467-65eac8578bef" providerId="ADAL" clId="{C473F347-30E6-4F99-BD43-7C0AE76DCA8B}" dt="2024-07-26T07:59:44.034" v="10974" actId="1076"/>
      <pc:docMkLst>
        <pc:docMk/>
      </pc:docMkLst>
      <pc:sldChg chg="modSp mod">
        <pc:chgData name="Pierugo Pace" userId="2226acec-25d1-48aa-b467-65eac8578bef" providerId="ADAL" clId="{C473F347-30E6-4F99-BD43-7C0AE76DCA8B}" dt="2024-07-22T09:37:53.384" v="8198" actId="20577"/>
        <pc:sldMkLst>
          <pc:docMk/>
          <pc:sldMk cId="1652418690" sldId="3212"/>
        </pc:sldMkLst>
        <pc:spChg chg="mod">
          <ac:chgData name="Pierugo Pace" userId="2226acec-25d1-48aa-b467-65eac8578bef" providerId="ADAL" clId="{C473F347-30E6-4F99-BD43-7C0AE76DCA8B}" dt="2024-07-03T13:37:21.541" v="3062" actId="1076"/>
          <ac:spMkLst>
            <pc:docMk/>
            <pc:sldMk cId="1652418690" sldId="3212"/>
            <ac:spMk id="4" creationId="{950C71FA-31D6-E24E-82F0-93559BE56F80}"/>
          </ac:spMkLst>
        </pc:spChg>
        <pc:spChg chg="mod">
          <ac:chgData name="Pierugo Pace" userId="2226acec-25d1-48aa-b467-65eac8578bef" providerId="ADAL" clId="{C473F347-30E6-4F99-BD43-7C0AE76DCA8B}" dt="2024-07-22T09:37:53.384" v="8198" actId="20577"/>
          <ac:spMkLst>
            <pc:docMk/>
            <pc:sldMk cId="1652418690" sldId="3212"/>
            <ac:spMk id="14" creationId="{906A0CD7-1992-4D99-0241-0586C5715EA5}"/>
          </ac:spMkLst>
        </pc:spChg>
      </pc:sldChg>
      <pc:sldChg chg="modSp mod">
        <pc:chgData name="Pierugo Pace" userId="2226acec-25d1-48aa-b467-65eac8578bef" providerId="ADAL" clId="{C473F347-30E6-4F99-BD43-7C0AE76DCA8B}" dt="2024-07-25T15:03:55.600" v="10636" actId="20577"/>
        <pc:sldMkLst>
          <pc:docMk/>
          <pc:sldMk cId="281399200" sldId="3217"/>
        </pc:sldMkLst>
        <pc:spChg chg="mod">
          <ac:chgData name="Pierugo Pace" userId="2226acec-25d1-48aa-b467-65eac8578bef" providerId="ADAL" clId="{C473F347-30E6-4F99-BD43-7C0AE76DCA8B}" dt="2024-07-25T15:03:55.600" v="10636" actId="20577"/>
          <ac:spMkLst>
            <pc:docMk/>
            <pc:sldMk cId="281399200" sldId="3217"/>
            <ac:spMk id="4" creationId="{950C71FA-31D6-E24E-82F0-93559BE56F80}"/>
          </ac:spMkLst>
        </pc:spChg>
        <pc:spChg chg="mod">
          <ac:chgData name="Pierugo Pace" userId="2226acec-25d1-48aa-b467-65eac8578bef" providerId="ADAL" clId="{C473F347-30E6-4F99-BD43-7C0AE76DCA8B}" dt="2024-07-25T13:16:35.062" v="10493" actId="1076"/>
          <ac:spMkLst>
            <pc:docMk/>
            <pc:sldMk cId="281399200" sldId="3217"/>
            <ac:spMk id="7" creationId="{D1E0001C-9AA9-9560-1D57-203F3A255B0A}"/>
          </ac:spMkLst>
        </pc:spChg>
        <pc:spChg chg="mod">
          <ac:chgData name="Pierugo Pace" userId="2226acec-25d1-48aa-b467-65eac8578bef" providerId="ADAL" clId="{C473F347-30E6-4F99-BD43-7C0AE76DCA8B}" dt="2024-07-24T13:42:03.126" v="9043" actId="20577"/>
          <ac:spMkLst>
            <pc:docMk/>
            <pc:sldMk cId="281399200" sldId="3217"/>
            <ac:spMk id="13" creationId="{00000000-0000-0000-0000-000000000000}"/>
          </ac:spMkLst>
        </pc:spChg>
        <pc:picChg chg="mod">
          <ac:chgData name="Pierugo Pace" userId="2226acec-25d1-48aa-b467-65eac8578bef" providerId="ADAL" clId="{C473F347-30E6-4F99-BD43-7C0AE76DCA8B}" dt="2024-07-25T13:16:30.100" v="10492" actId="1076"/>
          <ac:picMkLst>
            <pc:docMk/>
            <pc:sldMk cId="281399200" sldId="3217"/>
            <ac:picMk id="20" creationId="{00000000-0000-0000-0000-000000000000}"/>
          </ac:picMkLst>
        </pc:picChg>
      </pc:sldChg>
      <pc:sldChg chg="modSp mod modAnim">
        <pc:chgData name="Pierugo Pace" userId="2226acec-25d1-48aa-b467-65eac8578bef" providerId="ADAL" clId="{C473F347-30E6-4F99-BD43-7C0AE76DCA8B}" dt="2024-07-22T09:38:17.521" v="8203" actId="207"/>
        <pc:sldMkLst>
          <pc:docMk/>
          <pc:sldMk cId="2040960020" sldId="3218"/>
        </pc:sldMkLst>
        <pc:spChg chg="mod">
          <ac:chgData name="Pierugo Pace" userId="2226acec-25d1-48aa-b467-65eac8578bef" providerId="ADAL" clId="{C473F347-30E6-4F99-BD43-7C0AE76DCA8B}" dt="2024-07-03T13:35:43.268" v="3054" actId="1076"/>
          <ac:spMkLst>
            <pc:docMk/>
            <pc:sldMk cId="2040960020" sldId="3218"/>
            <ac:spMk id="4" creationId="{950C71FA-31D6-E24E-82F0-93559BE56F80}"/>
          </ac:spMkLst>
        </pc:spChg>
        <pc:spChg chg="mod">
          <ac:chgData name="Pierugo Pace" userId="2226acec-25d1-48aa-b467-65eac8578bef" providerId="ADAL" clId="{C473F347-30E6-4F99-BD43-7C0AE76DCA8B}" dt="2024-07-22T09:38:17.521" v="8203" actId="207"/>
          <ac:spMkLst>
            <pc:docMk/>
            <pc:sldMk cId="2040960020" sldId="3218"/>
            <ac:spMk id="5" creationId="{EC1D3909-932D-1C4E-9F8F-1E77B13BBB30}"/>
          </ac:spMkLst>
        </pc:spChg>
        <pc:spChg chg="mod">
          <ac:chgData name="Pierugo Pace" userId="2226acec-25d1-48aa-b467-65eac8578bef" providerId="ADAL" clId="{C473F347-30E6-4F99-BD43-7C0AE76DCA8B}" dt="2024-07-08T09:20:35.144" v="6622" actId="20577"/>
          <ac:spMkLst>
            <pc:docMk/>
            <pc:sldMk cId="2040960020" sldId="3218"/>
            <ac:spMk id="6" creationId="{00000000-0000-0000-0000-000000000000}"/>
          </ac:spMkLst>
        </pc:spChg>
      </pc:sldChg>
      <pc:sldChg chg="modSp mod">
        <pc:chgData name="Pierugo Pace" userId="2226acec-25d1-48aa-b467-65eac8578bef" providerId="ADAL" clId="{C473F347-30E6-4F99-BD43-7C0AE76DCA8B}" dt="2024-07-25T15:03:28.360" v="10623" actId="20577"/>
        <pc:sldMkLst>
          <pc:docMk/>
          <pc:sldMk cId="3833115350" sldId="3219"/>
        </pc:sldMkLst>
        <pc:spChg chg="mod">
          <ac:chgData name="Pierugo Pace" userId="2226acec-25d1-48aa-b467-65eac8578bef" providerId="ADAL" clId="{C473F347-30E6-4F99-BD43-7C0AE76DCA8B}" dt="2024-07-25T15:03:28.360" v="10623" actId="20577"/>
          <ac:spMkLst>
            <pc:docMk/>
            <pc:sldMk cId="3833115350" sldId="3219"/>
            <ac:spMk id="3" creationId="{8DC4B8A9-87F5-3C46-8C8C-5B396166EEC8}"/>
          </ac:spMkLst>
        </pc:spChg>
        <pc:spChg chg="mod">
          <ac:chgData name="Pierugo Pace" userId="2226acec-25d1-48aa-b467-65eac8578bef" providerId="ADAL" clId="{C473F347-30E6-4F99-BD43-7C0AE76DCA8B}" dt="2024-07-22T09:38:27.079" v="8206" actId="207"/>
          <ac:spMkLst>
            <pc:docMk/>
            <pc:sldMk cId="3833115350" sldId="3219"/>
            <ac:spMk id="5" creationId="{EC1D3909-932D-1C4E-9F8F-1E77B13BBB30}"/>
          </ac:spMkLst>
        </pc:spChg>
      </pc:sldChg>
      <pc:sldChg chg="addSp modSp mod modAnim">
        <pc:chgData name="Pierugo Pace" userId="2226acec-25d1-48aa-b467-65eac8578bef" providerId="ADAL" clId="{C473F347-30E6-4F99-BD43-7C0AE76DCA8B}" dt="2024-07-26T07:18:45.377" v="10796"/>
        <pc:sldMkLst>
          <pc:docMk/>
          <pc:sldMk cId="2916495761" sldId="3220"/>
        </pc:sldMkLst>
        <pc:spChg chg="mod">
          <ac:chgData name="Pierugo Pace" userId="2226acec-25d1-48aa-b467-65eac8578bef" providerId="ADAL" clId="{C473F347-30E6-4F99-BD43-7C0AE76DCA8B}" dt="2024-07-26T07:02:34.960" v="10722"/>
          <ac:spMkLst>
            <pc:docMk/>
            <pc:sldMk cId="2916495761" sldId="3220"/>
            <ac:spMk id="3" creationId="{8DC4B8A9-87F5-3C46-8C8C-5B396166EEC8}"/>
          </ac:spMkLst>
        </pc:spChg>
        <pc:spChg chg="mod">
          <ac:chgData name="Pierugo Pace" userId="2226acec-25d1-48aa-b467-65eac8578bef" providerId="ADAL" clId="{C473F347-30E6-4F99-BD43-7C0AE76DCA8B}" dt="2024-07-24T13:42:59.143" v="9112" actId="20577"/>
          <ac:spMkLst>
            <pc:docMk/>
            <pc:sldMk cId="2916495761" sldId="3220"/>
            <ac:spMk id="4" creationId="{950C71FA-31D6-E24E-82F0-93559BE56F80}"/>
          </ac:spMkLst>
        </pc:spChg>
        <pc:spChg chg="mod">
          <ac:chgData name="Pierugo Pace" userId="2226acec-25d1-48aa-b467-65eac8578bef" providerId="ADAL" clId="{C473F347-30E6-4F99-BD43-7C0AE76DCA8B}" dt="2024-07-24T13:42:11.262" v="9045"/>
          <ac:spMkLst>
            <pc:docMk/>
            <pc:sldMk cId="2916495761" sldId="3220"/>
            <ac:spMk id="5" creationId="{EC1D3909-932D-1C4E-9F8F-1E77B13BBB30}"/>
          </ac:spMkLst>
        </pc:spChg>
        <pc:picChg chg="add mod">
          <ac:chgData name="Pierugo Pace" userId="2226acec-25d1-48aa-b467-65eac8578bef" providerId="ADAL" clId="{C473F347-30E6-4F99-BD43-7C0AE76DCA8B}" dt="2024-07-26T07:18:45.377" v="10796"/>
          <ac:picMkLst>
            <pc:docMk/>
            <pc:sldMk cId="2916495761" sldId="3220"/>
            <ac:picMk id="6" creationId="{74D500A7-2EA2-3299-35BA-ACDDE54CC184}"/>
          </ac:picMkLst>
        </pc:picChg>
      </pc:sldChg>
      <pc:sldChg chg="modSp mod">
        <pc:chgData name="Pierugo Pace" userId="2226acec-25d1-48aa-b467-65eac8578bef" providerId="ADAL" clId="{C473F347-30E6-4F99-BD43-7C0AE76DCA8B}" dt="2024-07-24T13:40:38.253" v="9029" actId="20577"/>
        <pc:sldMkLst>
          <pc:docMk/>
          <pc:sldMk cId="3999669552" sldId="3222"/>
        </pc:sldMkLst>
        <pc:spChg chg="mod">
          <ac:chgData name="Pierugo Pace" userId="2226acec-25d1-48aa-b467-65eac8578bef" providerId="ADAL" clId="{C473F347-30E6-4F99-BD43-7C0AE76DCA8B}" dt="2024-07-03T13:31:39.628" v="2960" actId="20577"/>
          <ac:spMkLst>
            <pc:docMk/>
            <pc:sldMk cId="3999669552" sldId="3222"/>
            <ac:spMk id="4" creationId="{950C71FA-31D6-E24E-82F0-93559BE56F80}"/>
          </ac:spMkLst>
        </pc:spChg>
        <pc:spChg chg="mod">
          <ac:chgData name="Pierugo Pace" userId="2226acec-25d1-48aa-b467-65eac8578bef" providerId="ADAL" clId="{C473F347-30E6-4F99-BD43-7C0AE76DCA8B}" dt="2024-07-22T09:39:16.012" v="8217" actId="207"/>
          <ac:spMkLst>
            <pc:docMk/>
            <pc:sldMk cId="3999669552" sldId="3222"/>
            <ac:spMk id="5" creationId="{EC1D3909-932D-1C4E-9F8F-1E77B13BBB30}"/>
          </ac:spMkLst>
        </pc:spChg>
        <pc:graphicFrameChg chg="modGraphic">
          <ac:chgData name="Pierugo Pace" userId="2226acec-25d1-48aa-b467-65eac8578bef" providerId="ADAL" clId="{C473F347-30E6-4F99-BD43-7C0AE76DCA8B}" dt="2024-07-24T13:40:38.253" v="9029" actId="20577"/>
          <ac:graphicFrameMkLst>
            <pc:docMk/>
            <pc:sldMk cId="3999669552" sldId="3222"/>
            <ac:graphicFrameMk id="2" creationId="{244BCE46-F42D-B6BC-53F0-16D1213F3DB4}"/>
          </ac:graphicFrameMkLst>
        </pc:graphicFrameChg>
      </pc:sldChg>
      <pc:sldChg chg="modSp mod">
        <pc:chgData name="Pierugo Pace" userId="2226acec-25d1-48aa-b467-65eac8578bef" providerId="ADAL" clId="{C473F347-30E6-4F99-BD43-7C0AE76DCA8B}" dt="2024-07-24T13:57:05.869" v="9682"/>
        <pc:sldMkLst>
          <pc:docMk/>
          <pc:sldMk cId="2959437792" sldId="3223"/>
        </pc:sldMkLst>
        <pc:spChg chg="mod">
          <ac:chgData name="Pierugo Pace" userId="2226acec-25d1-48aa-b467-65eac8578bef" providerId="ADAL" clId="{C473F347-30E6-4F99-BD43-7C0AE76DCA8B}" dt="2024-07-24T13:57:05.869" v="9682"/>
          <ac:spMkLst>
            <pc:docMk/>
            <pc:sldMk cId="2959437792" sldId="3223"/>
            <ac:spMk id="2" creationId="{6A910622-D9C9-534B-6026-FA48BBCAC737}"/>
          </ac:spMkLst>
        </pc:spChg>
        <pc:spChg chg="mod">
          <ac:chgData name="Pierugo Pace" userId="2226acec-25d1-48aa-b467-65eac8578bef" providerId="ADAL" clId="{C473F347-30E6-4F99-BD43-7C0AE76DCA8B}" dt="2024-07-22T09:39:23" v="8218" actId="207"/>
          <ac:spMkLst>
            <pc:docMk/>
            <pc:sldMk cId="2959437792" sldId="3223"/>
            <ac:spMk id="5" creationId="{EC1D3909-932D-1C4E-9F8F-1E77B13BBB30}"/>
          </ac:spMkLst>
        </pc:spChg>
        <pc:graphicFrameChg chg="modGraphic">
          <ac:chgData name="Pierugo Pace" userId="2226acec-25d1-48aa-b467-65eac8578bef" providerId="ADAL" clId="{C473F347-30E6-4F99-BD43-7C0AE76DCA8B}" dt="2024-07-24T13:40:32.723" v="9014" actId="20577"/>
          <ac:graphicFrameMkLst>
            <pc:docMk/>
            <pc:sldMk cId="2959437792" sldId="3223"/>
            <ac:graphicFrameMk id="6" creationId="{00000000-0000-0000-0000-000000000000}"/>
          </ac:graphicFrameMkLst>
        </pc:graphicFrameChg>
      </pc:sldChg>
      <pc:sldChg chg="del">
        <pc:chgData name="Pierugo Pace" userId="2226acec-25d1-48aa-b467-65eac8578bef" providerId="ADAL" clId="{C473F347-30E6-4F99-BD43-7C0AE76DCA8B}" dt="2024-07-03T12:51:03.388" v="22" actId="47"/>
        <pc:sldMkLst>
          <pc:docMk/>
          <pc:sldMk cId="716079" sldId="3224"/>
        </pc:sldMkLst>
      </pc:sldChg>
      <pc:sldChg chg="del">
        <pc:chgData name="Pierugo Pace" userId="2226acec-25d1-48aa-b467-65eac8578bef" providerId="ADAL" clId="{C473F347-30E6-4F99-BD43-7C0AE76DCA8B}" dt="2024-07-03T12:51:30.871" v="30" actId="47"/>
        <pc:sldMkLst>
          <pc:docMk/>
          <pc:sldMk cId="2421799353" sldId="3226"/>
        </pc:sldMkLst>
      </pc:sldChg>
      <pc:sldChg chg="mod modShow">
        <pc:chgData name="Pierugo Pace" userId="2226acec-25d1-48aa-b467-65eac8578bef" providerId="ADAL" clId="{C473F347-30E6-4F99-BD43-7C0AE76DCA8B}" dt="2024-07-08T09:40:54.321" v="7222" actId="729"/>
        <pc:sldMkLst>
          <pc:docMk/>
          <pc:sldMk cId="1671089347" sldId="3227"/>
        </pc:sldMkLst>
      </pc:sldChg>
      <pc:sldChg chg="modSp mod">
        <pc:chgData name="Pierugo Pace" userId="2226acec-25d1-48aa-b467-65eac8578bef" providerId="ADAL" clId="{C473F347-30E6-4F99-BD43-7C0AE76DCA8B}" dt="2024-07-22T09:38:24.243" v="8205" actId="207"/>
        <pc:sldMkLst>
          <pc:docMk/>
          <pc:sldMk cId="2230992176" sldId="3228"/>
        </pc:sldMkLst>
        <pc:spChg chg="mod">
          <ac:chgData name="Pierugo Pace" userId="2226acec-25d1-48aa-b467-65eac8578bef" providerId="ADAL" clId="{C473F347-30E6-4F99-BD43-7C0AE76DCA8B}" dt="2024-07-22T09:38:24.243" v="8205" actId="207"/>
          <ac:spMkLst>
            <pc:docMk/>
            <pc:sldMk cId="2230992176" sldId="3228"/>
            <ac:spMk id="5" creationId="{EC1D3909-932D-1C4E-9F8F-1E77B13BBB30}"/>
          </ac:spMkLst>
        </pc:spChg>
      </pc:sldChg>
      <pc:sldChg chg="modSp mod modAnim">
        <pc:chgData name="Pierugo Pace" userId="2226acec-25d1-48aa-b467-65eac8578bef" providerId="ADAL" clId="{C473F347-30E6-4F99-BD43-7C0AE76DCA8B}" dt="2024-07-24T13:40:12.171" v="8999" actId="313"/>
        <pc:sldMkLst>
          <pc:docMk/>
          <pc:sldMk cId="1050014010" sldId="3231"/>
        </pc:sldMkLst>
        <pc:spChg chg="mod">
          <ac:chgData name="Pierugo Pace" userId="2226acec-25d1-48aa-b467-65eac8578bef" providerId="ADAL" clId="{C473F347-30E6-4F99-BD43-7C0AE76DCA8B}" dt="2024-07-24T13:39:53.254" v="8972" actId="20577"/>
          <ac:spMkLst>
            <pc:docMk/>
            <pc:sldMk cId="1050014010" sldId="3231"/>
            <ac:spMk id="3" creationId="{8DC4B8A9-87F5-3C46-8C8C-5B396166EEC8}"/>
          </ac:spMkLst>
        </pc:spChg>
        <pc:spChg chg="mod">
          <ac:chgData name="Pierugo Pace" userId="2226acec-25d1-48aa-b467-65eac8578bef" providerId="ADAL" clId="{C473F347-30E6-4F99-BD43-7C0AE76DCA8B}" dt="2024-07-03T13:30:27.358" v="2915" actId="20577"/>
          <ac:spMkLst>
            <pc:docMk/>
            <pc:sldMk cId="1050014010" sldId="3231"/>
            <ac:spMk id="4" creationId="{950C71FA-31D6-E24E-82F0-93559BE56F80}"/>
          </ac:spMkLst>
        </pc:spChg>
        <pc:spChg chg="mod">
          <ac:chgData name="Pierugo Pace" userId="2226acec-25d1-48aa-b467-65eac8578bef" providerId="ADAL" clId="{C473F347-30E6-4F99-BD43-7C0AE76DCA8B}" dt="2024-07-22T09:38:59.135" v="8212" actId="207"/>
          <ac:spMkLst>
            <pc:docMk/>
            <pc:sldMk cId="1050014010" sldId="3231"/>
            <ac:spMk id="5" creationId="{EC1D3909-932D-1C4E-9F8F-1E77B13BBB30}"/>
          </ac:spMkLst>
        </pc:spChg>
        <pc:spChg chg="mod">
          <ac:chgData name="Pierugo Pace" userId="2226acec-25d1-48aa-b467-65eac8578bef" providerId="ADAL" clId="{C473F347-30E6-4F99-BD43-7C0AE76DCA8B}" dt="2024-07-24T13:40:12.171" v="8999" actId="313"/>
          <ac:spMkLst>
            <pc:docMk/>
            <pc:sldMk cId="1050014010" sldId="3231"/>
            <ac:spMk id="8" creationId="{00000000-0000-0000-0000-000000000000}"/>
          </ac:spMkLst>
        </pc:spChg>
        <pc:spChg chg="mod">
          <ac:chgData name="Pierugo Pace" userId="2226acec-25d1-48aa-b467-65eac8578bef" providerId="ADAL" clId="{C473F347-30E6-4F99-BD43-7C0AE76DCA8B}" dt="2024-07-24T13:39:59.540" v="8981" actId="20577"/>
          <ac:spMkLst>
            <pc:docMk/>
            <pc:sldMk cId="1050014010" sldId="3231"/>
            <ac:spMk id="9" creationId="{00000000-0000-0000-0000-000000000000}"/>
          </ac:spMkLst>
        </pc:spChg>
      </pc:sldChg>
      <pc:sldChg chg="modSp mod modAnim">
        <pc:chgData name="Pierugo Pace" userId="2226acec-25d1-48aa-b467-65eac8578bef" providerId="ADAL" clId="{C473F347-30E6-4F99-BD43-7C0AE76DCA8B}" dt="2024-07-25T13:18:25.193" v="10521" actId="20577"/>
        <pc:sldMkLst>
          <pc:docMk/>
          <pc:sldMk cId="2826318917" sldId="3234"/>
        </pc:sldMkLst>
        <pc:spChg chg="mod">
          <ac:chgData name="Pierugo Pace" userId="2226acec-25d1-48aa-b467-65eac8578bef" providerId="ADAL" clId="{C473F347-30E6-4F99-BD43-7C0AE76DCA8B}" dt="2024-07-25T13:18:25.193" v="10521" actId="20577"/>
          <ac:spMkLst>
            <pc:docMk/>
            <pc:sldMk cId="2826318917" sldId="3234"/>
            <ac:spMk id="3" creationId="{8DC4B8A9-87F5-3C46-8C8C-5B396166EEC8}"/>
          </ac:spMkLst>
        </pc:spChg>
        <pc:spChg chg="mod">
          <ac:chgData name="Pierugo Pace" userId="2226acec-25d1-48aa-b467-65eac8578bef" providerId="ADAL" clId="{C473F347-30E6-4F99-BD43-7C0AE76DCA8B}" dt="2024-07-24T13:43:06.414" v="9123" actId="20577"/>
          <ac:spMkLst>
            <pc:docMk/>
            <pc:sldMk cId="2826318917" sldId="3234"/>
            <ac:spMk id="4" creationId="{950C71FA-31D6-E24E-82F0-93559BE56F80}"/>
          </ac:spMkLst>
        </pc:spChg>
        <pc:spChg chg="mod">
          <ac:chgData name="Pierugo Pace" userId="2226acec-25d1-48aa-b467-65eac8578bef" providerId="ADAL" clId="{C473F347-30E6-4F99-BD43-7C0AE76DCA8B}" dt="2024-07-22T09:39:12.104" v="8216" actId="207"/>
          <ac:spMkLst>
            <pc:docMk/>
            <pc:sldMk cId="2826318917" sldId="3234"/>
            <ac:spMk id="5" creationId="{EC1D3909-932D-1C4E-9F8F-1E77B13BBB30}"/>
          </ac:spMkLst>
        </pc:spChg>
      </pc:sldChg>
      <pc:sldChg chg="addSp delSp modSp mod modAnim">
        <pc:chgData name="Pierugo Pace" userId="2226acec-25d1-48aa-b467-65eac8578bef" providerId="ADAL" clId="{C473F347-30E6-4F99-BD43-7C0AE76DCA8B}" dt="2024-07-26T07:19:06.028" v="10803" actId="478"/>
        <pc:sldMkLst>
          <pc:docMk/>
          <pc:sldMk cId="2312541710" sldId="3235"/>
        </pc:sldMkLst>
        <pc:spChg chg="mod">
          <ac:chgData name="Pierugo Pace" userId="2226acec-25d1-48aa-b467-65eac8578bef" providerId="ADAL" clId="{C473F347-30E6-4F99-BD43-7C0AE76DCA8B}" dt="2024-07-25T15:03:59.192" v="10644" actId="20577"/>
          <ac:spMkLst>
            <pc:docMk/>
            <pc:sldMk cId="2312541710" sldId="3235"/>
            <ac:spMk id="4" creationId="{950C71FA-31D6-E24E-82F0-93559BE56F80}"/>
          </ac:spMkLst>
        </pc:spChg>
        <pc:spChg chg="add mod">
          <ac:chgData name="Pierugo Pace" userId="2226acec-25d1-48aa-b467-65eac8578bef" providerId="ADAL" clId="{C473F347-30E6-4F99-BD43-7C0AE76DCA8B}" dt="2024-07-25T13:16:43.492" v="10494"/>
          <ac:spMkLst>
            <pc:docMk/>
            <pc:sldMk cId="2312541710" sldId="3235"/>
            <ac:spMk id="5" creationId="{72094F0D-2FC1-61FE-4FAF-88B81AD40A13}"/>
          </ac:spMkLst>
        </pc:spChg>
        <pc:spChg chg="mod">
          <ac:chgData name="Pierugo Pace" userId="2226acec-25d1-48aa-b467-65eac8578bef" providerId="ADAL" clId="{C473F347-30E6-4F99-BD43-7C0AE76DCA8B}" dt="2024-07-24T13:42:06.511" v="9044"/>
          <ac:spMkLst>
            <pc:docMk/>
            <pc:sldMk cId="2312541710" sldId="3235"/>
            <ac:spMk id="13" creationId="{00000000-0000-0000-0000-000000000000}"/>
          </ac:spMkLst>
        </pc:spChg>
        <pc:spChg chg="del">
          <ac:chgData name="Pierugo Pace" userId="2226acec-25d1-48aa-b467-65eac8578bef" providerId="ADAL" clId="{C473F347-30E6-4F99-BD43-7C0AE76DCA8B}" dt="2024-07-25T13:16:46.108" v="10495" actId="478"/>
          <ac:spMkLst>
            <pc:docMk/>
            <pc:sldMk cId="2312541710" sldId="3235"/>
            <ac:spMk id="32" creationId="{968681E6-CBCD-8CB6-6316-34911F677F45}"/>
          </ac:spMkLst>
        </pc:spChg>
        <pc:picChg chg="add del mod">
          <ac:chgData name="Pierugo Pace" userId="2226acec-25d1-48aa-b467-65eac8578bef" providerId="ADAL" clId="{C473F347-30E6-4F99-BD43-7C0AE76DCA8B}" dt="2024-07-26T07:19:06.028" v="10803" actId="478"/>
          <ac:picMkLst>
            <pc:docMk/>
            <pc:sldMk cId="2312541710" sldId="3235"/>
            <ac:picMk id="7" creationId="{F0752A4F-E96B-BAC3-6A99-8CB127AC09FD}"/>
          </ac:picMkLst>
        </pc:picChg>
      </pc:sldChg>
      <pc:sldChg chg="modSp mod">
        <pc:chgData name="Pierugo Pace" userId="2226acec-25d1-48aa-b467-65eac8578bef" providerId="ADAL" clId="{C473F347-30E6-4F99-BD43-7C0AE76DCA8B}" dt="2024-07-22T09:37:46.813" v="8189" actId="20577"/>
        <pc:sldMkLst>
          <pc:docMk/>
          <pc:sldMk cId="1432698527" sldId="3238"/>
        </pc:sldMkLst>
        <pc:spChg chg="mod">
          <ac:chgData name="Pierugo Pace" userId="2226acec-25d1-48aa-b467-65eac8578bef" providerId="ADAL" clId="{C473F347-30E6-4F99-BD43-7C0AE76DCA8B}" dt="2024-07-22T09:37:46.813" v="8189" actId="20577"/>
          <ac:spMkLst>
            <pc:docMk/>
            <pc:sldMk cId="1432698527" sldId="3238"/>
            <ac:spMk id="8" creationId="{FE88BE84-624B-9FFC-DE5B-5EE3AFBC44A9}"/>
          </ac:spMkLst>
        </pc:spChg>
      </pc:sldChg>
      <pc:sldChg chg="modSp mod">
        <pc:chgData name="Pierugo Pace" userId="2226acec-25d1-48aa-b467-65eac8578bef" providerId="ADAL" clId="{C473F347-30E6-4F99-BD43-7C0AE76DCA8B}" dt="2024-07-22T09:37:58.279" v="8200" actId="20577"/>
        <pc:sldMkLst>
          <pc:docMk/>
          <pc:sldMk cId="1574789452" sldId="3239"/>
        </pc:sldMkLst>
        <pc:spChg chg="mod">
          <ac:chgData name="Pierugo Pace" userId="2226acec-25d1-48aa-b467-65eac8578bef" providerId="ADAL" clId="{C473F347-30E6-4F99-BD43-7C0AE76DCA8B}" dt="2024-07-03T13:36:56.115" v="3056" actId="1076"/>
          <ac:spMkLst>
            <pc:docMk/>
            <pc:sldMk cId="1574789452" sldId="3239"/>
            <ac:spMk id="4" creationId="{950C71FA-31D6-E24E-82F0-93559BE56F80}"/>
          </ac:spMkLst>
        </pc:spChg>
        <pc:spChg chg="mod">
          <ac:chgData name="Pierugo Pace" userId="2226acec-25d1-48aa-b467-65eac8578bef" providerId="ADAL" clId="{C473F347-30E6-4F99-BD43-7C0AE76DCA8B}" dt="2024-07-22T09:37:58.279" v="8200" actId="20577"/>
          <ac:spMkLst>
            <pc:docMk/>
            <pc:sldMk cId="1574789452" sldId="3239"/>
            <ac:spMk id="14" creationId="{906A0CD7-1992-4D99-0241-0586C5715EA5}"/>
          </ac:spMkLst>
        </pc:spChg>
      </pc:sldChg>
      <pc:sldChg chg="modSp mod">
        <pc:chgData name="Pierugo Pace" userId="2226acec-25d1-48aa-b467-65eac8578bef" providerId="ADAL" clId="{C473F347-30E6-4F99-BD43-7C0AE76DCA8B}" dt="2024-07-22T09:38:02.286" v="8202" actId="20577"/>
        <pc:sldMkLst>
          <pc:docMk/>
          <pc:sldMk cId="1884329406" sldId="3240"/>
        </pc:sldMkLst>
        <pc:spChg chg="mod">
          <ac:chgData name="Pierugo Pace" userId="2226acec-25d1-48aa-b467-65eac8578bef" providerId="ADAL" clId="{C473F347-30E6-4F99-BD43-7C0AE76DCA8B}" dt="2024-07-22T09:38:02.286" v="8202" actId="20577"/>
          <ac:spMkLst>
            <pc:docMk/>
            <pc:sldMk cId="1884329406" sldId="3240"/>
            <ac:spMk id="8" creationId="{FE88BE84-624B-9FFC-DE5B-5EE3AFBC44A9}"/>
          </ac:spMkLst>
        </pc:spChg>
      </pc:sldChg>
      <pc:sldChg chg="modSp mod addAnim delAnim modAnim">
        <pc:chgData name="Pierugo Pace" userId="2226acec-25d1-48aa-b467-65eac8578bef" providerId="ADAL" clId="{C473F347-30E6-4F99-BD43-7C0AE76DCA8B}" dt="2024-07-26T07:01:43.552" v="10720" actId="20577"/>
        <pc:sldMkLst>
          <pc:docMk/>
          <pc:sldMk cId="2891126277" sldId="3242"/>
        </pc:sldMkLst>
        <pc:spChg chg="mod">
          <ac:chgData name="Pierugo Pace" userId="2226acec-25d1-48aa-b467-65eac8578bef" providerId="ADAL" clId="{C473F347-30E6-4F99-BD43-7C0AE76DCA8B}" dt="2024-07-03T13:36:05.745" v="3055" actId="1076"/>
          <ac:spMkLst>
            <pc:docMk/>
            <pc:sldMk cId="2891126277" sldId="3242"/>
            <ac:spMk id="5" creationId="{00000000-0000-0000-0000-000000000000}"/>
          </ac:spMkLst>
        </pc:spChg>
        <pc:spChg chg="mod">
          <ac:chgData name="Pierugo Pace" userId="2226acec-25d1-48aa-b467-65eac8578bef" providerId="ADAL" clId="{C473F347-30E6-4F99-BD43-7C0AE76DCA8B}" dt="2024-07-26T07:01:43.552" v="10720" actId="20577"/>
          <ac:spMkLst>
            <pc:docMk/>
            <pc:sldMk cId="2891126277" sldId="3242"/>
            <ac:spMk id="7" creationId="{00000000-0000-0000-0000-000000000000}"/>
          </ac:spMkLst>
        </pc:spChg>
      </pc:sldChg>
      <pc:sldChg chg="modSp mod">
        <pc:chgData name="Pierugo Pace" userId="2226acec-25d1-48aa-b467-65eac8578bef" providerId="ADAL" clId="{C473F347-30E6-4F99-BD43-7C0AE76DCA8B}" dt="2024-07-26T07:17:49.761" v="10791" actId="20577"/>
        <pc:sldMkLst>
          <pc:docMk/>
          <pc:sldMk cId="3168781126" sldId="3244"/>
        </pc:sldMkLst>
        <pc:spChg chg="mod">
          <ac:chgData name="Pierugo Pace" userId="2226acec-25d1-48aa-b467-65eac8578bef" providerId="ADAL" clId="{C473F347-30E6-4F99-BD43-7C0AE76DCA8B}" dt="2024-07-26T07:17:49.761" v="10791" actId="20577"/>
          <ac:spMkLst>
            <pc:docMk/>
            <pc:sldMk cId="3168781126" sldId="3244"/>
            <ac:spMk id="3" creationId="{8DC4B8A9-87F5-3C46-8C8C-5B396166EEC8}"/>
          </ac:spMkLst>
        </pc:spChg>
        <pc:spChg chg="mod">
          <ac:chgData name="Pierugo Pace" userId="2226acec-25d1-48aa-b467-65eac8578bef" providerId="ADAL" clId="{C473F347-30E6-4F99-BD43-7C0AE76DCA8B}" dt="2024-07-22T09:38:21.469" v="8204" actId="207"/>
          <ac:spMkLst>
            <pc:docMk/>
            <pc:sldMk cId="3168781126" sldId="3244"/>
            <ac:spMk id="5" creationId="{EC1D3909-932D-1C4E-9F8F-1E77B13BBB30}"/>
          </ac:spMkLst>
        </pc:spChg>
      </pc:sldChg>
      <pc:sldChg chg="modSp mod">
        <pc:chgData name="Pierugo Pace" userId="2226acec-25d1-48aa-b467-65eac8578bef" providerId="ADAL" clId="{C473F347-30E6-4F99-BD43-7C0AE76DCA8B}" dt="2024-07-24T12:38:16.353" v="8849" actId="20577"/>
        <pc:sldMkLst>
          <pc:docMk/>
          <pc:sldMk cId="1935791267" sldId="3245"/>
        </pc:sldMkLst>
        <pc:spChg chg="mod">
          <ac:chgData name="Pierugo Pace" userId="2226acec-25d1-48aa-b467-65eac8578bef" providerId="ADAL" clId="{C473F347-30E6-4F99-BD43-7C0AE76DCA8B}" dt="2024-07-24T12:38:16.353" v="8849" actId="20577"/>
          <ac:spMkLst>
            <pc:docMk/>
            <pc:sldMk cId="1935791267" sldId="3245"/>
            <ac:spMk id="9" creationId="{8760C561-556E-134C-884E-6632400CFDA3}"/>
          </ac:spMkLst>
        </pc:spChg>
      </pc:sldChg>
      <pc:sldChg chg="modSp mod">
        <pc:chgData name="Pierugo Pace" userId="2226acec-25d1-48aa-b467-65eac8578bef" providerId="ADAL" clId="{C473F347-30E6-4F99-BD43-7C0AE76DCA8B}" dt="2024-07-24T12:21:14.491" v="8741" actId="20577"/>
        <pc:sldMkLst>
          <pc:docMk/>
          <pc:sldMk cId="3123017858" sldId="3246"/>
        </pc:sldMkLst>
        <pc:spChg chg="mod">
          <ac:chgData name="Pierugo Pace" userId="2226acec-25d1-48aa-b467-65eac8578bef" providerId="ADAL" clId="{C473F347-30E6-4F99-BD43-7C0AE76DCA8B}" dt="2024-07-03T13:37:45.731" v="3063" actId="1076"/>
          <ac:spMkLst>
            <pc:docMk/>
            <pc:sldMk cId="3123017858" sldId="3246"/>
            <ac:spMk id="4" creationId="{00000000-0000-0000-0000-000000000000}"/>
          </ac:spMkLst>
        </pc:spChg>
        <pc:spChg chg="mod">
          <ac:chgData name="Pierugo Pace" userId="2226acec-25d1-48aa-b467-65eac8578bef" providerId="ADAL" clId="{C473F347-30E6-4F99-BD43-7C0AE76DCA8B}" dt="2024-07-24T12:21:14.491" v="8741" actId="20577"/>
          <ac:spMkLst>
            <pc:docMk/>
            <pc:sldMk cId="3123017858" sldId="3246"/>
            <ac:spMk id="5" creationId="{00000000-0000-0000-0000-000000000000}"/>
          </ac:spMkLst>
        </pc:spChg>
      </pc:sldChg>
      <pc:sldChg chg="modSp add mod modAnim">
        <pc:chgData name="Pierugo Pace" userId="2226acec-25d1-48aa-b467-65eac8578bef" providerId="ADAL" clId="{C473F347-30E6-4F99-BD43-7C0AE76DCA8B}" dt="2024-07-25T15:04:43.408" v="10652" actId="14100"/>
        <pc:sldMkLst>
          <pc:docMk/>
          <pc:sldMk cId="805404190" sldId="3248"/>
        </pc:sldMkLst>
        <pc:spChg chg="mod">
          <ac:chgData name="Pierugo Pace" userId="2226acec-25d1-48aa-b467-65eac8578bef" providerId="ADAL" clId="{C473F347-30E6-4F99-BD43-7C0AE76DCA8B}" dt="2024-07-25T15:04:43.408" v="10652" actId="14100"/>
          <ac:spMkLst>
            <pc:docMk/>
            <pc:sldMk cId="805404190" sldId="3248"/>
            <ac:spMk id="3" creationId="{8DC4B8A9-87F5-3C46-8C8C-5B396166EEC8}"/>
          </ac:spMkLst>
        </pc:spChg>
        <pc:spChg chg="mod">
          <ac:chgData name="Pierugo Pace" userId="2226acec-25d1-48aa-b467-65eac8578bef" providerId="ADAL" clId="{C473F347-30E6-4F99-BD43-7C0AE76DCA8B}" dt="2024-07-22T09:39:30.217" v="8219" actId="207"/>
          <ac:spMkLst>
            <pc:docMk/>
            <pc:sldMk cId="805404190" sldId="3248"/>
            <ac:spMk id="5" creationId="{EC1D3909-932D-1C4E-9F8F-1E77B13BBB30}"/>
          </ac:spMkLst>
        </pc:spChg>
        <pc:spChg chg="mod">
          <ac:chgData name="Pierugo Pace" userId="2226acec-25d1-48aa-b467-65eac8578bef" providerId="ADAL" clId="{C473F347-30E6-4F99-BD43-7C0AE76DCA8B}" dt="2024-07-03T12:50:56.130" v="21" actId="20577"/>
          <ac:spMkLst>
            <pc:docMk/>
            <pc:sldMk cId="805404190" sldId="3248"/>
            <ac:spMk id="6" creationId="{A3F040A0-46D8-AC79-706C-7A9D81D8C4CB}"/>
          </ac:spMkLst>
        </pc:spChg>
      </pc:sldChg>
      <pc:sldChg chg="addSp delSp modSp add mod ord addAnim delAnim modAnim">
        <pc:chgData name="Pierugo Pace" userId="2226acec-25d1-48aa-b467-65eac8578bef" providerId="ADAL" clId="{C473F347-30E6-4F99-BD43-7C0AE76DCA8B}" dt="2024-07-24T13:44:27.856" v="9128"/>
        <pc:sldMkLst>
          <pc:docMk/>
          <pc:sldMk cId="2378317227" sldId="3249"/>
        </pc:sldMkLst>
        <pc:spChg chg="mod">
          <ac:chgData name="Pierugo Pace" userId="2226acec-25d1-48aa-b467-65eac8578bef" providerId="ADAL" clId="{C473F347-30E6-4F99-BD43-7C0AE76DCA8B}" dt="2024-07-05T08:58:54.228" v="4274" actId="790"/>
          <ac:spMkLst>
            <pc:docMk/>
            <pc:sldMk cId="2378317227" sldId="3249"/>
            <ac:spMk id="2" creationId="{85372F41-E7BD-08FC-615A-FF35FFCBBC05}"/>
          </ac:spMkLst>
        </pc:spChg>
        <pc:spChg chg="mod">
          <ac:chgData name="Pierugo Pace" userId="2226acec-25d1-48aa-b467-65eac8578bef" providerId="ADAL" clId="{C473F347-30E6-4F99-BD43-7C0AE76DCA8B}" dt="2024-07-08T09:28:35.041" v="6711" actId="20577"/>
          <ac:spMkLst>
            <pc:docMk/>
            <pc:sldMk cId="2378317227" sldId="3249"/>
            <ac:spMk id="3" creationId="{0B85A8E9-0134-D7E8-5E8F-C49D41539321}"/>
          </ac:spMkLst>
        </pc:spChg>
        <pc:spChg chg="mod">
          <ac:chgData name="Pierugo Pace" userId="2226acec-25d1-48aa-b467-65eac8578bef" providerId="ADAL" clId="{C473F347-30E6-4F99-BD43-7C0AE76DCA8B}" dt="2024-07-22T09:39:40.479" v="8220" actId="207"/>
          <ac:spMkLst>
            <pc:docMk/>
            <pc:sldMk cId="2378317227" sldId="3249"/>
            <ac:spMk id="4" creationId="{3D5A79E3-A59F-82D0-922D-A1AD302E4D02}"/>
          </ac:spMkLst>
        </pc:spChg>
        <pc:spChg chg="mod">
          <ac:chgData name="Pierugo Pace" userId="2226acec-25d1-48aa-b467-65eac8578bef" providerId="ADAL" clId="{C473F347-30E6-4F99-BD43-7C0AE76DCA8B}" dt="2024-07-08T09:28:36.510" v="6712" actId="20577"/>
          <ac:spMkLst>
            <pc:docMk/>
            <pc:sldMk cId="2378317227" sldId="3249"/>
            <ac:spMk id="8" creationId="{534C2079-D0F4-9D42-F791-DF18539D7879}"/>
          </ac:spMkLst>
        </pc:spChg>
        <pc:spChg chg="mod ord">
          <ac:chgData name="Pierugo Pace" userId="2226acec-25d1-48aa-b467-65eac8578bef" providerId="ADAL" clId="{C473F347-30E6-4F99-BD43-7C0AE76DCA8B}" dt="2024-07-04T13:13:47.801" v="3149" actId="1076"/>
          <ac:spMkLst>
            <pc:docMk/>
            <pc:sldMk cId="2378317227" sldId="3249"/>
            <ac:spMk id="9" creationId="{5F150D30-D2D5-B69C-3A3D-8B4897DBE9F0}"/>
          </ac:spMkLst>
        </pc:spChg>
        <pc:spChg chg="mod ord">
          <ac:chgData name="Pierugo Pace" userId="2226acec-25d1-48aa-b467-65eac8578bef" providerId="ADAL" clId="{C473F347-30E6-4F99-BD43-7C0AE76DCA8B}" dt="2024-07-04T13:13:30.633" v="3146" actId="1076"/>
          <ac:spMkLst>
            <pc:docMk/>
            <pc:sldMk cId="2378317227" sldId="3249"/>
            <ac:spMk id="12" creationId="{B1B18CCD-80B4-5904-623C-D7172F5BF276}"/>
          </ac:spMkLst>
        </pc:spChg>
        <pc:picChg chg="del mod">
          <ac:chgData name="Pierugo Pace" userId="2226acec-25d1-48aa-b467-65eac8578bef" providerId="ADAL" clId="{C473F347-30E6-4F99-BD43-7C0AE76DCA8B}" dt="2024-07-04T13:12:47.707" v="3134" actId="478"/>
          <ac:picMkLst>
            <pc:docMk/>
            <pc:sldMk cId="2378317227" sldId="3249"/>
            <ac:picMk id="6" creationId="{7AE8EE62-FCD1-E4D5-376E-9170CABD57D2}"/>
          </ac:picMkLst>
        </pc:picChg>
        <pc:picChg chg="add del mod">
          <ac:chgData name="Pierugo Pace" userId="2226acec-25d1-48aa-b467-65eac8578bef" providerId="ADAL" clId="{C473F347-30E6-4F99-BD43-7C0AE76DCA8B}" dt="2024-07-04T13:11:24.321" v="3119" actId="478"/>
          <ac:picMkLst>
            <pc:docMk/>
            <pc:sldMk cId="2378317227" sldId="3249"/>
            <ac:picMk id="7" creationId="{2DA13D89-29D0-B66E-01F3-16B52F685884}"/>
          </ac:picMkLst>
        </pc:picChg>
        <pc:picChg chg="del mod">
          <ac:chgData name="Pierugo Pace" userId="2226acec-25d1-48aa-b467-65eac8578bef" providerId="ADAL" clId="{C473F347-30E6-4F99-BD43-7C0AE76DCA8B}" dt="2024-07-03T13:29:48.587" v="2880" actId="478"/>
          <ac:picMkLst>
            <pc:docMk/>
            <pc:sldMk cId="2378317227" sldId="3249"/>
            <ac:picMk id="7" creationId="{68102E07-B12B-32DC-2B5B-756349BDDD1C}"/>
          </ac:picMkLst>
        </pc:picChg>
        <pc:picChg chg="add del mod">
          <ac:chgData name="Pierugo Pace" userId="2226acec-25d1-48aa-b467-65eac8578bef" providerId="ADAL" clId="{C473F347-30E6-4F99-BD43-7C0AE76DCA8B}" dt="2024-07-04T13:10:38.019" v="3108" actId="478"/>
          <ac:picMkLst>
            <pc:docMk/>
            <pc:sldMk cId="2378317227" sldId="3249"/>
            <ac:picMk id="10" creationId="{66FF7366-F36A-B80B-3ADD-EAEE6B645B52}"/>
          </ac:picMkLst>
        </pc:picChg>
        <pc:picChg chg="add del mod">
          <ac:chgData name="Pierugo Pace" userId="2226acec-25d1-48aa-b467-65eac8578bef" providerId="ADAL" clId="{C473F347-30E6-4F99-BD43-7C0AE76DCA8B}" dt="2024-07-04T13:10:44.293" v="3109" actId="478"/>
          <ac:picMkLst>
            <pc:docMk/>
            <pc:sldMk cId="2378317227" sldId="3249"/>
            <ac:picMk id="13" creationId="{1828293C-FC5F-FFEF-C0A5-0872D239FB4F}"/>
          </ac:picMkLst>
        </pc:picChg>
        <pc:picChg chg="add mod">
          <ac:chgData name="Pierugo Pace" userId="2226acec-25d1-48aa-b467-65eac8578bef" providerId="ADAL" clId="{C473F347-30E6-4F99-BD43-7C0AE76DCA8B}" dt="2024-07-04T13:13:40.240" v="3148" actId="1076"/>
          <ac:picMkLst>
            <pc:docMk/>
            <pc:sldMk cId="2378317227" sldId="3249"/>
            <ac:picMk id="15" creationId="{1F198679-4720-3D56-32C4-6D6A18F6E1A5}"/>
          </ac:picMkLst>
        </pc:picChg>
        <pc:picChg chg="add mod">
          <ac:chgData name="Pierugo Pace" userId="2226acec-25d1-48aa-b467-65eac8578bef" providerId="ADAL" clId="{C473F347-30E6-4F99-BD43-7C0AE76DCA8B}" dt="2024-07-04T13:13:24.655" v="3145" actId="1076"/>
          <ac:picMkLst>
            <pc:docMk/>
            <pc:sldMk cId="2378317227" sldId="3249"/>
            <ac:picMk id="17" creationId="{3D7E1047-7767-7236-A451-4550B11F356A}"/>
          </ac:picMkLst>
        </pc:picChg>
      </pc:sldChg>
      <pc:sldChg chg="modSp add del mod ord modAnim">
        <pc:chgData name="Pierugo Pace" userId="2226acec-25d1-48aa-b467-65eac8578bef" providerId="ADAL" clId="{C473F347-30E6-4F99-BD43-7C0AE76DCA8B}" dt="2024-07-03T13:12:40.888" v="1462" actId="47"/>
        <pc:sldMkLst>
          <pc:docMk/>
          <pc:sldMk cId="2573377566" sldId="3250"/>
        </pc:sldMkLst>
        <pc:spChg chg="mod">
          <ac:chgData name="Pierugo Pace" userId="2226acec-25d1-48aa-b467-65eac8578bef" providerId="ADAL" clId="{C473F347-30E6-4F99-BD43-7C0AE76DCA8B}" dt="2024-07-03T13:11:38.534" v="1436" actId="20577"/>
          <ac:spMkLst>
            <pc:docMk/>
            <pc:sldMk cId="2573377566" sldId="3250"/>
            <ac:spMk id="3" creationId="{8DC4B8A9-87F5-3C46-8C8C-5B396166EEC8}"/>
          </ac:spMkLst>
        </pc:spChg>
        <pc:spChg chg="mod">
          <ac:chgData name="Pierugo Pace" userId="2226acec-25d1-48aa-b467-65eac8578bef" providerId="ADAL" clId="{C473F347-30E6-4F99-BD43-7C0AE76DCA8B}" dt="2024-07-03T13:11:22.714" v="1435" actId="20577"/>
          <ac:spMkLst>
            <pc:docMk/>
            <pc:sldMk cId="2573377566" sldId="3250"/>
            <ac:spMk id="4" creationId="{950C71FA-31D6-E24E-82F0-93559BE56F80}"/>
          </ac:spMkLst>
        </pc:spChg>
        <pc:spChg chg="mod">
          <ac:chgData name="Pierugo Pace" userId="2226acec-25d1-48aa-b467-65eac8578bef" providerId="ADAL" clId="{C473F347-30E6-4F99-BD43-7C0AE76DCA8B}" dt="2024-07-03T13:08:40.719" v="1402" actId="20577"/>
          <ac:spMkLst>
            <pc:docMk/>
            <pc:sldMk cId="2573377566" sldId="3250"/>
            <ac:spMk id="5" creationId="{EC1D3909-932D-1C4E-9F8F-1E77B13BBB30}"/>
          </ac:spMkLst>
        </pc:spChg>
      </pc:sldChg>
      <pc:sldChg chg="modSp add mod modAnim modNotesTx">
        <pc:chgData name="Pierugo Pace" userId="2226acec-25d1-48aa-b467-65eac8578bef" providerId="ADAL" clId="{C473F347-30E6-4F99-BD43-7C0AE76DCA8B}" dt="2024-07-08T09:41:17.592" v="7229"/>
        <pc:sldMkLst>
          <pc:docMk/>
          <pc:sldMk cId="3990734500" sldId="3251"/>
        </pc:sldMkLst>
        <pc:spChg chg="mod">
          <ac:chgData name="Pierugo Pace" userId="2226acec-25d1-48aa-b467-65eac8578bef" providerId="ADAL" clId="{C473F347-30E6-4F99-BD43-7C0AE76DCA8B}" dt="2024-07-08T09:40:10.768" v="7217" actId="20577"/>
          <ac:spMkLst>
            <pc:docMk/>
            <pc:sldMk cId="3990734500" sldId="3251"/>
            <ac:spMk id="3" creationId="{8DC4B8A9-87F5-3C46-8C8C-5B396166EEC8}"/>
          </ac:spMkLst>
        </pc:spChg>
        <pc:spChg chg="mod">
          <ac:chgData name="Pierugo Pace" userId="2226acec-25d1-48aa-b467-65eac8578bef" providerId="ADAL" clId="{C473F347-30E6-4F99-BD43-7C0AE76DCA8B}" dt="2024-07-03T12:51:55.581" v="70" actId="20577"/>
          <ac:spMkLst>
            <pc:docMk/>
            <pc:sldMk cId="3990734500" sldId="3251"/>
            <ac:spMk id="4" creationId="{950C71FA-31D6-E24E-82F0-93559BE56F80}"/>
          </ac:spMkLst>
        </pc:spChg>
      </pc:sldChg>
      <pc:sldChg chg="new del">
        <pc:chgData name="Pierugo Pace" userId="2226acec-25d1-48aa-b467-65eac8578bef" providerId="ADAL" clId="{C473F347-30E6-4F99-BD43-7C0AE76DCA8B}" dt="2024-07-03T13:12:07.231" v="1441" actId="47"/>
        <pc:sldMkLst>
          <pc:docMk/>
          <pc:sldMk cId="824409939" sldId="3252"/>
        </pc:sldMkLst>
      </pc:sldChg>
      <pc:sldChg chg="add del">
        <pc:chgData name="Pierugo Pace" userId="2226acec-25d1-48aa-b467-65eac8578bef" providerId="ADAL" clId="{C473F347-30E6-4F99-BD43-7C0AE76DCA8B}" dt="2024-07-03T13:00:48.077" v="916"/>
        <pc:sldMkLst>
          <pc:docMk/>
          <pc:sldMk cId="4261569540" sldId="3252"/>
        </pc:sldMkLst>
      </pc:sldChg>
      <pc:sldChg chg="addSp delSp modSp add del mod ord modAnim modNotesTx">
        <pc:chgData name="Pierugo Pace" userId="2226acec-25d1-48aa-b467-65eac8578bef" providerId="ADAL" clId="{C473F347-30E6-4F99-BD43-7C0AE76DCA8B}" dt="2024-07-25T15:05:17.917" v="10659"/>
        <pc:sldMkLst>
          <pc:docMk/>
          <pc:sldMk cId="2928912475" sldId="3253"/>
        </pc:sldMkLst>
        <pc:spChg chg="add mod">
          <ac:chgData name="Pierugo Pace" userId="2226acec-25d1-48aa-b467-65eac8578bef" providerId="ADAL" clId="{C473F347-30E6-4F99-BD43-7C0AE76DCA8B}" dt="2024-07-08T07:46:19.917" v="5782"/>
          <ac:spMkLst>
            <pc:docMk/>
            <pc:sldMk cId="2928912475" sldId="3253"/>
            <ac:spMk id="2" creationId="{682F189B-123C-686A-20CA-70A64C23455F}"/>
          </ac:spMkLst>
        </pc:spChg>
        <pc:spChg chg="add del mod">
          <ac:chgData name="Pierugo Pace" userId="2226acec-25d1-48aa-b467-65eac8578bef" providerId="ADAL" clId="{C473F347-30E6-4F99-BD43-7C0AE76DCA8B}" dt="2024-07-03T13:33:12.384" v="3050" actId="478"/>
          <ac:spMkLst>
            <pc:docMk/>
            <pc:sldMk cId="2928912475" sldId="3253"/>
            <ac:spMk id="3" creationId="{2A67E7BC-FA69-12AC-6348-C355DDDD4854}"/>
          </ac:spMkLst>
        </pc:spChg>
        <pc:spChg chg="add mod">
          <ac:chgData name="Pierugo Pace" userId="2226acec-25d1-48aa-b467-65eac8578bef" providerId="ADAL" clId="{C473F347-30E6-4F99-BD43-7C0AE76DCA8B}" dt="2024-07-03T13:33:06.909" v="3047"/>
          <ac:spMkLst>
            <pc:docMk/>
            <pc:sldMk cId="2928912475" sldId="3253"/>
            <ac:spMk id="4" creationId="{765C1021-C7D4-ED55-F939-5691216F3AC5}"/>
          </ac:spMkLst>
        </pc:spChg>
        <pc:spChg chg="mod">
          <ac:chgData name="Pierugo Pace" userId="2226acec-25d1-48aa-b467-65eac8578bef" providerId="ADAL" clId="{C473F347-30E6-4F99-BD43-7C0AE76DCA8B}" dt="2024-07-22T09:43:08.986" v="8317" actId="20577"/>
          <ac:spMkLst>
            <pc:docMk/>
            <pc:sldMk cId="2928912475" sldId="3253"/>
            <ac:spMk id="5" creationId="{00000000-0000-0000-0000-000000000000}"/>
          </ac:spMkLst>
        </pc:spChg>
        <pc:spChg chg="add mod">
          <ac:chgData name="Pierugo Pace" userId="2226acec-25d1-48aa-b467-65eac8578bef" providerId="ADAL" clId="{C473F347-30E6-4F99-BD43-7C0AE76DCA8B}" dt="2024-07-03T13:33:10.100" v="3049"/>
          <ac:spMkLst>
            <pc:docMk/>
            <pc:sldMk cId="2928912475" sldId="3253"/>
            <ac:spMk id="6" creationId="{6B5A13BE-DA0F-41F0-2F8F-E5AFF38CBF95}"/>
          </ac:spMkLst>
        </pc:spChg>
        <pc:spChg chg="mod">
          <ac:chgData name="Pierugo Pace" userId="2226acec-25d1-48aa-b467-65eac8578bef" providerId="ADAL" clId="{C473F347-30E6-4F99-BD43-7C0AE76DCA8B}" dt="2024-07-25T15:05:04.574" v="10658" actId="20577"/>
          <ac:spMkLst>
            <pc:docMk/>
            <pc:sldMk cId="2928912475" sldId="3253"/>
            <ac:spMk id="7" creationId="{00000000-0000-0000-0000-000000000000}"/>
          </ac:spMkLst>
        </pc:spChg>
        <pc:spChg chg="del mod">
          <ac:chgData name="Pierugo Pace" userId="2226acec-25d1-48aa-b467-65eac8578bef" providerId="ADAL" clId="{C473F347-30E6-4F99-BD43-7C0AE76DCA8B}" dt="2024-07-03T13:33:05.202" v="3045" actId="478"/>
          <ac:spMkLst>
            <pc:docMk/>
            <pc:sldMk cId="2928912475" sldId="3253"/>
            <ac:spMk id="8" creationId="{00000000-0000-0000-0000-000000000000}"/>
          </ac:spMkLst>
        </pc:spChg>
        <pc:spChg chg="add mod">
          <ac:chgData name="Pierugo Pace" userId="2226acec-25d1-48aa-b467-65eac8578bef" providerId="ADAL" clId="{C473F347-30E6-4F99-BD43-7C0AE76DCA8B}" dt="2024-07-22T09:42:15.751" v="8232" actId="20577"/>
          <ac:spMkLst>
            <pc:docMk/>
            <pc:sldMk cId="2928912475" sldId="3253"/>
            <ac:spMk id="9" creationId="{D7AC90F9-CD87-2073-1742-DE5A02F34B14}"/>
          </ac:spMkLst>
        </pc:spChg>
        <pc:spChg chg="del">
          <ac:chgData name="Pierugo Pace" userId="2226acec-25d1-48aa-b467-65eac8578bef" providerId="ADAL" clId="{C473F347-30E6-4F99-BD43-7C0AE76DCA8B}" dt="2024-07-03T13:12:20.417" v="1447" actId="478"/>
          <ac:spMkLst>
            <pc:docMk/>
            <pc:sldMk cId="2928912475" sldId="3253"/>
            <ac:spMk id="31" creationId="{00000000-0000-0000-0000-000000000000}"/>
          </ac:spMkLst>
        </pc:spChg>
      </pc:sldChg>
      <pc:sldChg chg="addSp delSp modSp new mod modClrScheme delAnim modAnim chgLayout">
        <pc:chgData name="Pierugo Pace" userId="2226acec-25d1-48aa-b467-65eac8578bef" providerId="ADAL" clId="{C473F347-30E6-4F99-BD43-7C0AE76DCA8B}" dt="2024-07-25T13:19:22.187" v="10523"/>
        <pc:sldMkLst>
          <pc:docMk/>
          <pc:sldMk cId="471132039" sldId="3254"/>
        </pc:sldMkLst>
        <pc:spChg chg="add mod">
          <ac:chgData name="Pierugo Pace" userId="2226acec-25d1-48aa-b467-65eac8578bef" providerId="ADAL" clId="{C473F347-30E6-4F99-BD43-7C0AE76DCA8B}" dt="2024-07-22T09:53:28.021" v="8597" actId="1076"/>
          <ac:spMkLst>
            <pc:docMk/>
            <pc:sldMk cId="471132039" sldId="3254"/>
            <ac:spMk id="2" creationId="{2CB8DB12-0E4B-0D20-5DA6-3A2608711C8B}"/>
          </ac:spMkLst>
        </pc:spChg>
        <pc:spChg chg="del mod ord">
          <ac:chgData name="Pierugo Pace" userId="2226acec-25d1-48aa-b467-65eac8578bef" providerId="ADAL" clId="{C473F347-30E6-4F99-BD43-7C0AE76DCA8B}" dt="2024-07-03T13:32:16.704" v="2963" actId="700"/>
          <ac:spMkLst>
            <pc:docMk/>
            <pc:sldMk cId="471132039" sldId="3254"/>
            <ac:spMk id="2" creationId="{D7D30397-F5FD-E8C9-ECF9-4F3D682ACC14}"/>
          </ac:spMkLst>
        </pc:spChg>
        <pc:spChg chg="add del mod ord">
          <ac:chgData name="Pierugo Pace" userId="2226acec-25d1-48aa-b467-65eac8578bef" providerId="ADAL" clId="{C473F347-30E6-4F99-BD43-7C0AE76DCA8B}" dt="2024-07-08T07:48:35.146" v="5832" actId="478"/>
          <ac:spMkLst>
            <pc:docMk/>
            <pc:sldMk cId="471132039" sldId="3254"/>
            <ac:spMk id="3" creationId="{0167AAB5-9527-B748-6572-3AA22274C389}"/>
          </ac:spMkLst>
        </pc:spChg>
        <pc:spChg chg="del">
          <ac:chgData name="Pierugo Pace" userId="2226acec-25d1-48aa-b467-65eac8578bef" providerId="ADAL" clId="{C473F347-30E6-4F99-BD43-7C0AE76DCA8B}" dt="2024-07-03T13:32:16.704" v="2963" actId="700"/>
          <ac:spMkLst>
            <pc:docMk/>
            <pc:sldMk cId="471132039" sldId="3254"/>
            <ac:spMk id="3" creationId="{9C1ADB11-1549-85EC-C00D-A0769A717AC7}"/>
          </ac:spMkLst>
        </pc:spChg>
        <pc:spChg chg="del mod ord">
          <ac:chgData name="Pierugo Pace" userId="2226acec-25d1-48aa-b467-65eac8578bef" providerId="ADAL" clId="{C473F347-30E6-4F99-BD43-7C0AE76DCA8B}" dt="2024-07-03T13:32:16.704" v="2963" actId="700"/>
          <ac:spMkLst>
            <pc:docMk/>
            <pc:sldMk cId="471132039" sldId="3254"/>
            <ac:spMk id="4" creationId="{C1418825-752E-50CE-BBB1-71DB7F96119E}"/>
          </ac:spMkLst>
        </pc:spChg>
        <pc:spChg chg="del mod ord">
          <ac:chgData name="Pierugo Pace" userId="2226acec-25d1-48aa-b467-65eac8578bef" providerId="ADAL" clId="{C473F347-30E6-4F99-BD43-7C0AE76DCA8B}" dt="2024-07-03T13:32:16.704" v="2963" actId="700"/>
          <ac:spMkLst>
            <pc:docMk/>
            <pc:sldMk cId="471132039" sldId="3254"/>
            <ac:spMk id="5" creationId="{A0BB57EA-DBF4-6351-FF63-954A26B3772C}"/>
          </ac:spMkLst>
        </pc:spChg>
        <pc:spChg chg="add mod ord">
          <ac:chgData name="Pierugo Pace" userId="2226acec-25d1-48aa-b467-65eac8578bef" providerId="ADAL" clId="{C473F347-30E6-4F99-BD43-7C0AE76DCA8B}" dt="2024-07-22T09:43:07.177" v="8315" actId="20577"/>
          <ac:spMkLst>
            <pc:docMk/>
            <pc:sldMk cId="471132039" sldId="3254"/>
            <ac:spMk id="6" creationId="{9B6A052D-8A50-38B9-A1D6-ECEFE490EAF5}"/>
          </ac:spMkLst>
        </pc:spChg>
        <pc:spChg chg="add mod ord">
          <ac:chgData name="Pierugo Pace" userId="2226acec-25d1-48aa-b467-65eac8578bef" providerId="ADAL" clId="{C473F347-30E6-4F99-BD43-7C0AE76DCA8B}" dt="2024-07-24T13:54:07.199" v="9522" actId="5793"/>
          <ac:spMkLst>
            <pc:docMk/>
            <pc:sldMk cId="471132039" sldId="3254"/>
            <ac:spMk id="7" creationId="{16E2FE2A-FABA-B694-3864-684CCC52739A}"/>
          </ac:spMkLst>
        </pc:spChg>
        <pc:spChg chg="add mod ord">
          <ac:chgData name="Pierugo Pace" userId="2226acec-25d1-48aa-b467-65eac8578bef" providerId="ADAL" clId="{C473F347-30E6-4F99-BD43-7C0AE76DCA8B}" dt="2024-07-22T09:42:19.112" v="8233"/>
          <ac:spMkLst>
            <pc:docMk/>
            <pc:sldMk cId="471132039" sldId="3254"/>
            <ac:spMk id="8" creationId="{EA256C8C-6C7B-75BA-A2E9-78123262BDCA}"/>
          </ac:spMkLst>
        </pc:spChg>
      </pc:sldChg>
      <pc:sldChg chg="modSp add del mod">
        <pc:chgData name="Pierugo Pace" userId="2226acec-25d1-48aa-b467-65eac8578bef" providerId="ADAL" clId="{C473F347-30E6-4F99-BD43-7C0AE76DCA8B}" dt="2024-07-03T13:24:35.295" v="2613" actId="47"/>
        <pc:sldMkLst>
          <pc:docMk/>
          <pc:sldMk cId="2382787808" sldId="3254"/>
        </pc:sldMkLst>
        <pc:spChg chg="mod">
          <ac:chgData name="Pierugo Pace" userId="2226acec-25d1-48aa-b467-65eac8578bef" providerId="ADAL" clId="{C473F347-30E6-4F99-BD43-7C0AE76DCA8B}" dt="2024-07-03T13:24:26.953" v="2609" actId="20577"/>
          <ac:spMkLst>
            <pc:docMk/>
            <pc:sldMk cId="2382787808" sldId="3254"/>
            <ac:spMk id="5" creationId="{00000000-0000-0000-0000-000000000000}"/>
          </ac:spMkLst>
        </pc:spChg>
      </pc:sldChg>
      <pc:sldChg chg="new del">
        <pc:chgData name="Pierugo Pace" userId="2226acec-25d1-48aa-b467-65eac8578bef" providerId="ADAL" clId="{C473F347-30E6-4F99-BD43-7C0AE76DCA8B}" dt="2024-07-03T13:12:12.898" v="1445" actId="47"/>
        <pc:sldMkLst>
          <pc:docMk/>
          <pc:sldMk cId="2507975171" sldId="3254"/>
        </pc:sldMkLst>
      </pc:sldChg>
      <pc:sldChg chg="delSp modSp add del mod ord delAnim modAnim">
        <pc:chgData name="Pierugo Pace" userId="2226acec-25d1-48aa-b467-65eac8578bef" providerId="ADAL" clId="{C473F347-30E6-4F99-BD43-7C0AE76DCA8B}" dt="2024-07-03T13:25:22.900" v="2685" actId="47"/>
        <pc:sldMkLst>
          <pc:docMk/>
          <pc:sldMk cId="1106490401" sldId="3255"/>
        </pc:sldMkLst>
        <pc:spChg chg="mod">
          <ac:chgData name="Pierugo Pace" userId="2226acec-25d1-48aa-b467-65eac8578bef" providerId="ADAL" clId="{C473F347-30E6-4F99-BD43-7C0AE76DCA8B}" dt="2024-07-03T13:24:50.713" v="2678" actId="20577"/>
          <ac:spMkLst>
            <pc:docMk/>
            <pc:sldMk cId="1106490401" sldId="3255"/>
            <ac:spMk id="3" creationId="{8DC4B8A9-87F5-3C46-8C8C-5B396166EEC8}"/>
          </ac:spMkLst>
        </pc:spChg>
        <pc:spChg chg="del mod">
          <ac:chgData name="Pierugo Pace" userId="2226acec-25d1-48aa-b467-65eac8578bef" providerId="ADAL" clId="{C473F347-30E6-4F99-BD43-7C0AE76DCA8B}" dt="2024-07-03T13:24:55.391" v="2680" actId="478"/>
          <ac:spMkLst>
            <pc:docMk/>
            <pc:sldMk cId="1106490401" sldId="3255"/>
            <ac:spMk id="6" creationId="{A3F040A0-46D8-AC79-706C-7A9D81D8C4CB}"/>
          </ac:spMkLst>
        </pc:spChg>
      </pc:sldChg>
      <pc:sldChg chg="new del">
        <pc:chgData name="Pierugo Pace" userId="2226acec-25d1-48aa-b467-65eac8578bef" providerId="ADAL" clId="{C473F347-30E6-4F99-BD43-7C0AE76DCA8B}" dt="2024-07-03T13:12:11.502" v="1444" actId="47"/>
        <pc:sldMkLst>
          <pc:docMk/>
          <pc:sldMk cId="2551737331" sldId="3255"/>
        </pc:sldMkLst>
      </pc:sldChg>
      <pc:sldChg chg="addSp modSp add mod modAnim">
        <pc:chgData name="Pierugo Pace" userId="2226acec-25d1-48aa-b467-65eac8578bef" providerId="ADAL" clId="{C473F347-30E6-4F99-BD43-7C0AE76DCA8B}" dt="2024-07-26T07:09:44.600" v="10786" actId="20577"/>
        <pc:sldMkLst>
          <pc:docMk/>
          <pc:sldMk cId="3012130092" sldId="3255"/>
        </pc:sldMkLst>
        <pc:spChg chg="add mod">
          <ac:chgData name="Pierugo Pace" userId="2226acec-25d1-48aa-b467-65eac8578bef" providerId="ADAL" clId="{C473F347-30E6-4F99-BD43-7C0AE76DCA8B}" dt="2024-07-25T15:06:07.171" v="10661"/>
          <ac:spMkLst>
            <pc:docMk/>
            <pc:sldMk cId="3012130092" sldId="3255"/>
            <ac:spMk id="2" creationId="{CF1CDEC2-4F6F-5D3A-FB84-7C1B6083350F}"/>
          </ac:spMkLst>
        </pc:spChg>
        <pc:spChg chg="mod">
          <ac:chgData name="Pierugo Pace" userId="2226acec-25d1-48aa-b467-65eac8578bef" providerId="ADAL" clId="{C473F347-30E6-4F99-BD43-7C0AE76DCA8B}" dt="2024-07-25T15:06:49.568" v="10672" actId="207"/>
          <ac:spMkLst>
            <pc:docMk/>
            <pc:sldMk cId="3012130092" sldId="3255"/>
            <ac:spMk id="6" creationId="{9B6A052D-8A50-38B9-A1D6-ECEFE490EAF5}"/>
          </ac:spMkLst>
        </pc:spChg>
        <pc:spChg chg="mod">
          <ac:chgData name="Pierugo Pace" userId="2226acec-25d1-48aa-b467-65eac8578bef" providerId="ADAL" clId="{C473F347-30E6-4F99-BD43-7C0AE76DCA8B}" dt="2024-07-26T07:09:44.600" v="10786" actId="20577"/>
          <ac:spMkLst>
            <pc:docMk/>
            <pc:sldMk cId="3012130092" sldId="3255"/>
            <ac:spMk id="7" creationId="{16E2FE2A-FABA-B694-3864-684CCC52739A}"/>
          </ac:spMkLst>
        </pc:spChg>
        <pc:spChg chg="mod">
          <ac:chgData name="Pierugo Pace" userId="2226acec-25d1-48aa-b467-65eac8578bef" providerId="ADAL" clId="{C473F347-30E6-4F99-BD43-7C0AE76DCA8B}" dt="2024-07-25T15:06:54.188" v="10674" actId="207"/>
          <ac:spMkLst>
            <pc:docMk/>
            <pc:sldMk cId="3012130092" sldId="3255"/>
            <ac:spMk id="8" creationId="{EA256C8C-6C7B-75BA-A2E9-78123262BDCA}"/>
          </ac:spMkLst>
        </pc:spChg>
      </pc:sldChg>
      <pc:sldChg chg="new del">
        <pc:chgData name="Pierugo Pace" userId="2226acec-25d1-48aa-b467-65eac8578bef" providerId="ADAL" clId="{C473F347-30E6-4F99-BD43-7C0AE76DCA8B}" dt="2024-07-03T13:24:37.667" v="2615" actId="47"/>
        <pc:sldMkLst>
          <pc:docMk/>
          <pc:sldMk cId="1314805637" sldId="3256"/>
        </pc:sldMkLst>
      </pc:sldChg>
      <pc:sldChg chg="addSp delSp modSp add mod">
        <pc:chgData name="Pierugo Pace" userId="2226acec-25d1-48aa-b467-65eac8578bef" providerId="ADAL" clId="{C473F347-30E6-4F99-BD43-7C0AE76DCA8B}" dt="2024-07-25T13:20:05.269" v="10524" actId="478"/>
        <pc:sldMkLst>
          <pc:docMk/>
          <pc:sldMk cId="3310855761" sldId="3256"/>
        </pc:sldMkLst>
        <pc:spChg chg="add del mod">
          <ac:chgData name="Pierugo Pace" userId="2226acec-25d1-48aa-b467-65eac8578bef" providerId="ADAL" clId="{C473F347-30E6-4F99-BD43-7C0AE76DCA8B}" dt="2024-07-05T08:47:19.309" v="3938" actId="478"/>
          <ac:spMkLst>
            <pc:docMk/>
            <pc:sldMk cId="3310855761" sldId="3256"/>
            <ac:spMk id="5" creationId="{3E1B4B0E-A473-2193-488F-446CA447B459}"/>
          </ac:spMkLst>
        </pc:spChg>
        <pc:spChg chg="mod">
          <ac:chgData name="Pierugo Pace" userId="2226acec-25d1-48aa-b467-65eac8578bef" providerId="ADAL" clId="{C473F347-30E6-4F99-BD43-7C0AE76DCA8B}" dt="2024-07-05T08:59:28.596" v="4278" actId="790"/>
          <ac:spMkLst>
            <pc:docMk/>
            <pc:sldMk cId="3310855761" sldId="3256"/>
            <ac:spMk id="6" creationId="{9B6A052D-8A50-38B9-A1D6-ECEFE490EAF5}"/>
          </ac:spMkLst>
        </pc:spChg>
        <pc:spChg chg="del">
          <ac:chgData name="Pierugo Pace" userId="2226acec-25d1-48aa-b467-65eac8578bef" providerId="ADAL" clId="{C473F347-30E6-4F99-BD43-7C0AE76DCA8B}" dt="2024-07-05T08:47:18.122" v="3937" actId="478"/>
          <ac:spMkLst>
            <pc:docMk/>
            <pc:sldMk cId="3310855761" sldId="3256"/>
            <ac:spMk id="7" creationId="{16E2FE2A-FABA-B694-3864-684CCC52739A}"/>
          </ac:spMkLst>
        </pc:spChg>
        <pc:spChg chg="mod">
          <ac:chgData name="Pierugo Pace" userId="2226acec-25d1-48aa-b467-65eac8578bef" providerId="ADAL" clId="{C473F347-30E6-4F99-BD43-7C0AE76DCA8B}" dt="2024-07-22T14:21:47.283" v="8618"/>
          <ac:spMkLst>
            <pc:docMk/>
            <pc:sldMk cId="3310855761" sldId="3256"/>
            <ac:spMk id="8" creationId="{EA256C8C-6C7B-75BA-A2E9-78123262BDCA}"/>
          </ac:spMkLst>
        </pc:spChg>
        <pc:spChg chg="add mod">
          <ac:chgData name="Pierugo Pace" userId="2226acec-25d1-48aa-b467-65eac8578bef" providerId="ADAL" clId="{C473F347-30E6-4F99-BD43-7C0AE76DCA8B}" dt="2024-07-24T12:17:39.368" v="8620" actId="1076"/>
          <ac:spMkLst>
            <pc:docMk/>
            <pc:sldMk cId="3310855761" sldId="3256"/>
            <ac:spMk id="9" creationId="{83385E77-60C9-2910-6092-597298149D76}"/>
          </ac:spMkLst>
        </pc:spChg>
        <pc:graphicFrameChg chg="add mod modGraphic">
          <ac:chgData name="Pierugo Pace" userId="2226acec-25d1-48aa-b467-65eac8578bef" providerId="ADAL" clId="{C473F347-30E6-4F99-BD43-7C0AE76DCA8B}" dt="2024-07-24T13:59:58.592" v="9840" actId="20577"/>
          <ac:graphicFrameMkLst>
            <pc:docMk/>
            <pc:sldMk cId="3310855761" sldId="3256"/>
            <ac:graphicFrameMk id="2" creationId="{073BE0DB-5464-7502-2A0B-03F179BBE978}"/>
          </ac:graphicFrameMkLst>
        </pc:graphicFrameChg>
        <pc:graphicFrameChg chg="add mod">
          <ac:chgData name="Pierugo Pace" userId="2226acec-25d1-48aa-b467-65eac8578bef" providerId="ADAL" clId="{C473F347-30E6-4F99-BD43-7C0AE76DCA8B}" dt="2024-07-05T08:46:28.016" v="3920" actId="571"/>
          <ac:graphicFrameMkLst>
            <pc:docMk/>
            <pc:sldMk cId="3310855761" sldId="3256"/>
            <ac:graphicFrameMk id="3" creationId="{855F8E40-C174-87FC-CCC3-96824A4CDDFC}"/>
          </ac:graphicFrameMkLst>
        </pc:graphicFrameChg>
        <pc:picChg chg="add del mod">
          <ac:chgData name="Pierugo Pace" userId="2226acec-25d1-48aa-b467-65eac8578bef" providerId="ADAL" clId="{C473F347-30E6-4F99-BD43-7C0AE76DCA8B}" dt="2024-07-25T13:20:05.269" v="10524" actId="478"/>
          <ac:picMkLst>
            <pc:docMk/>
            <pc:sldMk cId="3310855761" sldId="3256"/>
            <ac:picMk id="3" creationId="{31FEABE1-8502-9D46-0C3D-F9B99BAC53EA}"/>
          </ac:picMkLst>
        </pc:picChg>
      </pc:sldChg>
      <pc:sldChg chg="addSp delSp modSp new del mod modAnim modShow">
        <pc:chgData name="Pierugo Pace" userId="2226acec-25d1-48aa-b467-65eac8578bef" providerId="ADAL" clId="{C473F347-30E6-4F99-BD43-7C0AE76DCA8B}" dt="2024-07-24T12:20:04.323" v="8673" actId="47"/>
        <pc:sldMkLst>
          <pc:docMk/>
          <pc:sldMk cId="1845996394" sldId="3257"/>
        </pc:sldMkLst>
        <pc:spChg chg="del">
          <ac:chgData name="Pierugo Pace" userId="2226acec-25d1-48aa-b467-65eac8578bef" providerId="ADAL" clId="{C473F347-30E6-4F99-BD43-7C0AE76DCA8B}" dt="2024-07-04T15:45:18.958" v="3242" actId="478"/>
          <ac:spMkLst>
            <pc:docMk/>
            <pc:sldMk cId="1845996394" sldId="3257"/>
            <ac:spMk id="2" creationId="{9B811A23-88C0-9D1E-0934-AFC85AF325E1}"/>
          </ac:spMkLst>
        </pc:spChg>
        <pc:spChg chg="del">
          <ac:chgData name="Pierugo Pace" userId="2226acec-25d1-48aa-b467-65eac8578bef" providerId="ADAL" clId="{C473F347-30E6-4F99-BD43-7C0AE76DCA8B}" dt="2024-07-04T15:45:18.958" v="3242" actId="478"/>
          <ac:spMkLst>
            <pc:docMk/>
            <pc:sldMk cId="1845996394" sldId="3257"/>
            <ac:spMk id="3" creationId="{EAC9898F-D756-73FB-7B44-31B199C33450}"/>
          </ac:spMkLst>
        </pc:spChg>
        <pc:spChg chg="del">
          <ac:chgData name="Pierugo Pace" userId="2226acec-25d1-48aa-b467-65eac8578bef" providerId="ADAL" clId="{C473F347-30E6-4F99-BD43-7C0AE76DCA8B}" dt="2024-07-04T15:45:18.958" v="3242" actId="478"/>
          <ac:spMkLst>
            <pc:docMk/>
            <pc:sldMk cId="1845996394" sldId="3257"/>
            <ac:spMk id="4" creationId="{AD6359AD-13BF-039D-AD3D-8CDA6F324C48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6" creationId="{A73B9F70-0621-5E75-4C5E-BA2AC69321FA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7" creationId="{EE7D6B3D-D6BC-3658-7C35-46E1C6D96BDD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8" creationId="{EDDF6CE3-381E-F133-991E-79A8B5BA2737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9" creationId="{D77F249C-B8D0-BD19-7117-AF6EF33646DC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10" creationId="{7442F81D-D045-3F75-2139-A8031CAD0843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11" creationId="{FFF2FB72-4B34-F1B7-A8D4-2A3D3EC47F55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12" creationId="{1812FE09-6709-931D-40F9-1639C1DFDEFC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13" creationId="{8469E9D9-6603-59D6-DBDA-859A027BD2F4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17" creationId="{5478F7EC-B839-3F44-5D26-D3ADF506E9DC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18" creationId="{0A65B249-B7EF-B4AD-26B5-E81006FD5751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19" creationId="{96B1007D-55EE-D368-426D-647DC7855999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20" creationId="{BC6EEE28-81AC-DCD9-16F9-9161B062F2E7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21" creationId="{05011FE6-721C-22CA-4BB3-2BFB80A78B06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22" creationId="{C950DC97-F031-5904-8128-BC0DDD7A13D4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24" creationId="{5C53809B-31FB-7100-1EC4-B1B56EA6FDFD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27" creationId="{E433C9DE-BFB8-AB53-C53C-0D0D1E09B850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28" creationId="{0EDA2B8E-26D6-32CE-DC8C-43BFE5D156A7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29" creationId="{3B546644-EFF3-F925-3546-B6D5BCEB182D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30" creationId="{22EE5782-AF7D-251A-FF99-6CB295D88122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31" creationId="{571E83B7-A7FA-EED3-6A7C-EE1832D399D5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32" creationId="{9E03B082-CE47-B7A7-CAF3-A765C4E814ED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33" creationId="{02816D07-DB71-E832-0365-CBA1F9372873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34" creationId="{49E76F65-B52F-C5D5-AB0B-61CAD25AA226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35" creationId="{275A121F-FF1B-517E-CBE8-886825351C08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36" creationId="{D4AC2A93-0BFD-C859-A40A-69BF49BCCEF1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37" creationId="{B645F438-81AF-B134-96DB-FE65F035A52B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38" creationId="{217D5E9D-BC89-E581-A647-F21DD93F9E5E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40" creationId="{D4FB5AC7-7D34-6CD6-0432-B659BB8B8B23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43" creationId="{0FE7E5AD-B1DB-CAF2-F298-78F963D1582D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44" creationId="{34C02B3A-7FF3-C6D7-299E-0A0321EE1123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45" creationId="{0C9A51D4-5918-EA57-C552-9BE5CBEC71DE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46" creationId="{7D5642BB-8199-6924-2319-517AE120774D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47" creationId="{7C77C531-8556-DBDE-A2AB-13C3804C3767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48" creationId="{6179D88B-9ED7-AEC2-6290-E0DEC6263707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49" creationId="{CE62A126-4AFF-6260-2245-7836D7BA8956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50" creationId="{FD9B382F-AE9E-86FC-79E6-2ABF076EF23F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51" creationId="{D202E2F0-EEE7-6C40-15C7-C2F2F8787088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52" creationId="{7922030A-362A-F912-E86F-8EDD26E8C76E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53" creationId="{EEE16E23-951B-F0B4-75E0-C82745D14F0B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54" creationId="{99EEBF69-A96F-31FF-6C11-4D10C1DC7CB5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55" creationId="{25691B21-0399-C391-642C-697D3FB77AB4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57" creationId="{1CAE09A1-AD07-FAA8-36B0-7188DDD5503C}"/>
          </ac:spMkLst>
        </pc:spChg>
        <pc:spChg chg="mod">
          <ac:chgData name="Pierugo Pace" userId="2226acec-25d1-48aa-b467-65eac8578bef" providerId="ADAL" clId="{C473F347-30E6-4F99-BD43-7C0AE76DCA8B}" dt="2024-07-05T09:00:33.851" v="4284" actId="790"/>
          <ac:spMkLst>
            <pc:docMk/>
            <pc:sldMk cId="1845996394" sldId="3257"/>
            <ac:spMk id="65" creationId="{2B4D9575-C832-CAAA-D009-A7C83021CD3D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66" creationId="{CBF6C66D-BC9D-4CDD-BD6C-C8345685D777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67" creationId="{68DB0B72-DD11-7467-4B85-14588D4BD9AB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68" creationId="{4C75DF7E-AFCB-6B42-3FBA-AB80736B5D88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69" creationId="{E8DED31B-A705-E757-AF70-EA5AF4D5A721}"/>
          </ac:spMkLst>
        </pc:spChg>
        <pc:spChg chg="mod">
          <ac:chgData name="Pierugo Pace" userId="2226acec-25d1-48aa-b467-65eac8578bef" providerId="ADAL" clId="{C473F347-30E6-4F99-BD43-7C0AE76DCA8B}" dt="2024-07-04T15:45:13.304" v="3241"/>
          <ac:spMkLst>
            <pc:docMk/>
            <pc:sldMk cId="1845996394" sldId="3257"/>
            <ac:spMk id="70" creationId="{6DC3BCD5-CC5F-B71B-004B-D84D6A3096D1}"/>
          </ac:spMkLst>
        </pc:spChg>
        <pc:grpChg chg="add del mod">
          <ac:chgData name="Pierugo Pace" userId="2226acec-25d1-48aa-b467-65eac8578bef" providerId="ADAL" clId="{C473F347-30E6-4F99-BD43-7C0AE76DCA8B}" dt="2024-07-24T12:19:46.204" v="8668" actId="478"/>
          <ac:grpSpMkLst>
            <pc:docMk/>
            <pc:sldMk cId="1845996394" sldId="3257"/>
            <ac:grpSpMk id="5" creationId="{4601F595-89A0-96D2-093A-5FD44D2012BE}"/>
          </ac:grpSpMkLst>
        </pc:grpChg>
        <pc:grpChg chg="add del mod">
          <ac:chgData name="Pierugo Pace" userId="2226acec-25d1-48aa-b467-65eac8578bef" providerId="ADAL" clId="{C473F347-30E6-4F99-BD43-7C0AE76DCA8B}" dt="2024-07-24T12:19:46.204" v="8668" actId="478"/>
          <ac:grpSpMkLst>
            <pc:docMk/>
            <pc:sldMk cId="1845996394" sldId="3257"/>
            <ac:grpSpMk id="15" creationId="{C84CC0CD-96BD-3B79-A1B1-4A2B653C2EDB}"/>
          </ac:grpSpMkLst>
        </pc:grpChg>
        <pc:grpChg chg="mod">
          <ac:chgData name="Pierugo Pace" userId="2226acec-25d1-48aa-b467-65eac8578bef" providerId="ADAL" clId="{C473F347-30E6-4F99-BD43-7C0AE76DCA8B}" dt="2024-07-04T15:45:13.304" v="3241"/>
          <ac:grpSpMkLst>
            <pc:docMk/>
            <pc:sldMk cId="1845996394" sldId="3257"/>
            <ac:grpSpMk id="16" creationId="{5F1854E7-56DF-31D6-586D-56A6C8638E4E}"/>
          </ac:grpSpMkLst>
        </pc:grpChg>
        <pc:grpChg chg="add del mod">
          <ac:chgData name="Pierugo Pace" userId="2226acec-25d1-48aa-b467-65eac8578bef" providerId="ADAL" clId="{C473F347-30E6-4F99-BD43-7C0AE76DCA8B}" dt="2024-07-24T12:19:46.204" v="8668" actId="478"/>
          <ac:grpSpMkLst>
            <pc:docMk/>
            <pc:sldMk cId="1845996394" sldId="3257"/>
            <ac:grpSpMk id="25" creationId="{4C445C02-0774-8666-951A-EC6AF5E56EFB}"/>
          </ac:grpSpMkLst>
        </pc:grpChg>
        <pc:grpChg chg="mod">
          <ac:chgData name="Pierugo Pace" userId="2226acec-25d1-48aa-b467-65eac8578bef" providerId="ADAL" clId="{C473F347-30E6-4F99-BD43-7C0AE76DCA8B}" dt="2024-07-04T15:45:13.304" v="3241"/>
          <ac:grpSpMkLst>
            <pc:docMk/>
            <pc:sldMk cId="1845996394" sldId="3257"/>
            <ac:grpSpMk id="26" creationId="{C5F074A6-EC76-4F34-4BB6-EC6115CCC4F6}"/>
          </ac:grpSpMkLst>
        </pc:grpChg>
        <pc:grpChg chg="add del mod">
          <ac:chgData name="Pierugo Pace" userId="2226acec-25d1-48aa-b467-65eac8578bef" providerId="ADAL" clId="{C473F347-30E6-4F99-BD43-7C0AE76DCA8B}" dt="2024-07-24T12:19:46.204" v="8668" actId="478"/>
          <ac:grpSpMkLst>
            <pc:docMk/>
            <pc:sldMk cId="1845996394" sldId="3257"/>
            <ac:grpSpMk id="41" creationId="{C339AAAF-9A42-1CC9-9BD2-588171D6CEC1}"/>
          </ac:grpSpMkLst>
        </pc:grpChg>
        <pc:grpChg chg="mod">
          <ac:chgData name="Pierugo Pace" userId="2226acec-25d1-48aa-b467-65eac8578bef" providerId="ADAL" clId="{C473F347-30E6-4F99-BD43-7C0AE76DCA8B}" dt="2024-07-04T15:45:13.304" v="3241"/>
          <ac:grpSpMkLst>
            <pc:docMk/>
            <pc:sldMk cId="1845996394" sldId="3257"/>
            <ac:grpSpMk id="42" creationId="{F10D2FED-BFBF-CC1C-3517-0FCCA6B8AA27}"/>
          </ac:grpSpMkLst>
        </pc:grpChg>
        <pc:grpChg chg="add del mod">
          <ac:chgData name="Pierugo Pace" userId="2226acec-25d1-48aa-b467-65eac8578bef" providerId="ADAL" clId="{C473F347-30E6-4F99-BD43-7C0AE76DCA8B}" dt="2024-07-24T12:19:46.204" v="8668" actId="478"/>
          <ac:grpSpMkLst>
            <pc:docMk/>
            <pc:sldMk cId="1845996394" sldId="3257"/>
            <ac:grpSpMk id="58" creationId="{0B7E564A-5A3B-3198-9DC8-9090435C6808}"/>
          </ac:grpSpMkLst>
        </pc:grpChg>
        <pc:graphicFrameChg chg="add del mod">
          <ac:chgData name="Pierugo Pace" userId="2226acec-25d1-48aa-b467-65eac8578bef" providerId="ADAL" clId="{C473F347-30E6-4F99-BD43-7C0AE76DCA8B}" dt="2024-07-24T12:19:46.204" v="8668" actId="478"/>
          <ac:graphicFrameMkLst>
            <pc:docMk/>
            <pc:sldMk cId="1845996394" sldId="3257"/>
            <ac:graphicFrameMk id="14" creationId="{D9DCCD16-759C-5575-DCC0-61AF7BDD6D85}"/>
          </ac:graphicFrameMkLst>
        </pc:graphicFrameChg>
        <pc:picChg chg="add mod">
          <ac:chgData name="Pierugo Pace" userId="2226acec-25d1-48aa-b467-65eac8578bef" providerId="ADAL" clId="{C473F347-30E6-4F99-BD43-7C0AE76DCA8B}" dt="2024-07-24T12:19:58.721" v="8671" actId="962"/>
          <ac:picMkLst>
            <pc:docMk/>
            <pc:sldMk cId="1845996394" sldId="3257"/>
            <ac:picMk id="3" creationId="{5B5EC731-3DB9-091B-6D3B-72A13667FA3B}"/>
          </ac:picMkLst>
        </pc:picChg>
        <pc:cxnChg chg="mod">
          <ac:chgData name="Pierugo Pace" userId="2226acec-25d1-48aa-b467-65eac8578bef" providerId="ADAL" clId="{C473F347-30E6-4F99-BD43-7C0AE76DCA8B}" dt="2024-07-04T15:45:13.304" v="3241"/>
          <ac:cxnSpMkLst>
            <pc:docMk/>
            <pc:sldMk cId="1845996394" sldId="3257"/>
            <ac:cxnSpMk id="23" creationId="{125DA6FE-B558-2625-766C-84BC95C2CA3E}"/>
          </ac:cxnSpMkLst>
        </pc:cxnChg>
        <pc:cxnChg chg="mod">
          <ac:chgData name="Pierugo Pace" userId="2226acec-25d1-48aa-b467-65eac8578bef" providerId="ADAL" clId="{C473F347-30E6-4F99-BD43-7C0AE76DCA8B}" dt="2024-07-04T15:45:13.304" v="3241"/>
          <ac:cxnSpMkLst>
            <pc:docMk/>
            <pc:sldMk cId="1845996394" sldId="3257"/>
            <ac:cxnSpMk id="39" creationId="{604A8B39-E2B8-B9ED-F918-81F392779ECA}"/>
          </ac:cxnSpMkLst>
        </pc:cxnChg>
        <pc:cxnChg chg="mod">
          <ac:chgData name="Pierugo Pace" userId="2226acec-25d1-48aa-b467-65eac8578bef" providerId="ADAL" clId="{C473F347-30E6-4F99-BD43-7C0AE76DCA8B}" dt="2024-07-04T15:45:13.304" v="3241"/>
          <ac:cxnSpMkLst>
            <pc:docMk/>
            <pc:sldMk cId="1845996394" sldId="3257"/>
            <ac:cxnSpMk id="56" creationId="{2109DBA8-3562-2C79-62AB-DA034343643A}"/>
          </ac:cxnSpMkLst>
        </pc:cxnChg>
        <pc:cxnChg chg="mod">
          <ac:chgData name="Pierugo Pace" userId="2226acec-25d1-48aa-b467-65eac8578bef" providerId="ADAL" clId="{C473F347-30E6-4F99-BD43-7C0AE76DCA8B}" dt="2024-07-04T15:45:13.304" v="3241"/>
          <ac:cxnSpMkLst>
            <pc:docMk/>
            <pc:sldMk cId="1845996394" sldId="3257"/>
            <ac:cxnSpMk id="59" creationId="{505B9493-195C-9E67-2DA3-4AD09624BD3B}"/>
          </ac:cxnSpMkLst>
        </pc:cxnChg>
        <pc:cxnChg chg="mod">
          <ac:chgData name="Pierugo Pace" userId="2226acec-25d1-48aa-b467-65eac8578bef" providerId="ADAL" clId="{C473F347-30E6-4F99-BD43-7C0AE76DCA8B}" dt="2024-07-04T15:45:13.304" v="3241"/>
          <ac:cxnSpMkLst>
            <pc:docMk/>
            <pc:sldMk cId="1845996394" sldId="3257"/>
            <ac:cxnSpMk id="60" creationId="{8F11C826-DE31-FBEB-DC60-F4F489ED6774}"/>
          </ac:cxnSpMkLst>
        </pc:cxnChg>
        <pc:cxnChg chg="mod">
          <ac:chgData name="Pierugo Pace" userId="2226acec-25d1-48aa-b467-65eac8578bef" providerId="ADAL" clId="{C473F347-30E6-4F99-BD43-7C0AE76DCA8B}" dt="2024-07-04T15:45:13.304" v="3241"/>
          <ac:cxnSpMkLst>
            <pc:docMk/>
            <pc:sldMk cId="1845996394" sldId="3257"/>
            <ac:cxnSpMk id="61" creationId="{5F557708-B6E5-886B-8C67-3F3458080783}"/>
          </ac:cxnSpMkLst>
        </pc:cxnChg>
        <pc:cxnChg chg="mod">
          <ac:chgData name="Pierugo Pace" userId="2226acec-25d1-48aa-b467-65eac8578bef" providerId="ADAL" clId="{C473F347-30E6-4F99-BD43-7C0AE76DCA8B}" dt="2024-07-04T15:45:13.304" v="3241"/>
          <ac:cxnSpMkLst>
            <pc:docMk/>
            <pc:sldMk cId="1845996394" sldId="3257"/>
            <ac:cxnSpMk id="62" creationId="{99777B81-87FB-7E95-7BCB-6D677ACBB3A9}"/>
          </ac:cxnSpMkLst>
        </pc:cxnChg>
        <pc:cxnChg chg="mod">
          <ac:chgData name="Pierugo Pace" userId="2226acec-25d1-48aa-b467-65eac8578bef" providerId="ADAL" clId="{C473F347-30E6-4F99-BD43-7C0AE76DCA8B}" dt="2024-07-04T15:45:13.304" v="3241"/>
          <ac:cxnSpMkLst>
            <pc:docMk/>
            <pc:sldMk cId="1845996394" sldId="3257"/>
            <ac:cxnSpMk id="63" creationId="{BED64433-A108-4845-BF3A-97C597465ECE}"/>
          </ac:cxnSpMkLst>
        </pc:cxnChg>
        <pc:cxnChg chg="mod">
          <ac:chgData name="Pierugo Pace" userId="2226acec-25d1-48aa-b467-65eac8578bef" providerId="ADAL" clId="{C473F347-30E6-4F99-BD43-7C0AE76DCA8B}" dt="2024-07-04T15:45:13.304" v="3241"/>
          <ac:cxnSpMkLst>
            <pc:docMk/>
            <pc:sldMk cId="1845996394" sldId="3257"/>
            <ac:cxnSpMk id="64" creationId="{CB387D0C-9A57-5007-051D-EA84C1F0F255}"/>
          </ac:cxnSpMkLst>
        </pc:cxnChg>
      </pc:sldChg>
      <pc:sldChg chg="addSp delSp modSp add del mod ord modShow">
        <pc:chgData name="Pierugo Pace" userId="2226acec-25d1-48aa-b467-65eac8578bef" providerId="ADAL" clId="{C473F347-30E6-4F99-BD43-7C0AE76DCA8B}" dt="2024-07-10T12:41:34.383" v="7846" actId="14100"/>
        <pc:sldMkLst>
          <pc:docMk/>
          <pc:sldMk cId="3806905397" sldId="3258"/>
        </pc:sldMkLst>
        <pc:spChg chg="add del mod">
          <ac:chgData name="Pierugo Pace" userId="2226acec-25d1-48aa-b467-65eac8578bef" providerId="ADAL" clId="{C473F347-30E6-4F99-BD43-7C0AE76DCA8B}" dt="2024-07-05T12:30:51.128" v="4338" actId="478"/>
          <ac:spMkLst>
            <pc:docMk/>
            <pc:sldMk cId="3806905397" sldId="3258"/>
            <ac:spMk id="2" creationId="{E8BB9393-7E94-BB28-2CDE-0124EF03E180}"/>
          </ac:spMkLst>
        </pc:spChg>
        <pc:spChg chg="add del mod">
          <ac:chgData name="Pierugo Pace" userId="2226acec-25d1-48aa-b467-65eac8578bef" providerId="ADAL" clId="{C473F347-30E6-4F99-BD43-7C0AE76DCA8B}" dt="2024-07-08T08:04:10.531" v="6252" actId="478"/>
          <ac:spMkLst>
            <pc:docMk/>
            <pc:sldMk cId="3806905397" sldId="3258"/>
            <ac:spMk id="2" creationId="{F1D57465-D468-8F46-ED4C-70230794619C}"/>
          </ac:spMkLst>
        </pc:spChg>
        <pc:spChg chg="add mod topLvl">
          <ac:chgData name="Pierugo Pace" userId="2226acec-25d1-48aa-b467-65eac8578bef" providerId="ADAL" clId="{C473F347-30E6-4F99-BD43-7C0AE76DCA8B}" dt="2024-07-08T08:19:27.862" v="6430" actId="20577"/>
          <ac:spMkLst>
            <pc:docMk/>
            <pc:sldMk cId="3806905397" sldId="3258"/>
            <ac:spMk id="3" creationId="{48467868-2449-DC10-DD32-3B102F5A44A3}"/>
          </ac:spMkLst>
        </pc:spChg>
        <pc:spChg chg="add mod topLvl">
          <ac:chgData name="Pierugo Pace" userId="2226acec-25d1-48aa-b467-65eac8578bef" providerId="ADAL" clId="{C473F347-30E6-4F99-BD43-7C0AE76DCA8B}" dt="2024-07-10T12:37:26.461" v="7777" actId="14100"/>
          <ac:spMkLst>
            <pc:docMk/>
            <pc:sldMk cId="3806905397" sldId="3258"/>
            <ac:spMk id="4" creationId="{370D67FC-6B77-1C3E-0577-FFEFDC667B67}"/>
          </ac:spMkLst>
        </pc:spChg>
        <pc:spChg chg="add mod topLvl">
          <ac:chgData name="Pierugo Pace" userId="2226acec-25d1-48aa-b467-65eac8578bef" providerId="ADAL" clId="{C473F347-30E6-4F99-BD43-7C0AE76DCA8B}" dt="2024-07-10T12:41:14.290" v="7838" actId="14100"/>
          <ac:spMkLst>
            <pc:docMk/>
            <pc:sldMk cId="3806905397" sldId="3258"/>
            <ac:spMk id="5" creationId="{915B382A-6A03-F33C-A0F6-74D72A29E9BF}"/>
          </ac:spMkLst>
        </pc:spChg>
        <pc:spChg chg="del mod">
          <ac:chgData name="Pierugo Pace" userId="2226acec-25d1-48aa-b467-65eac8578bef" providerId="ADAL" clId="{C473F347-30E6-4F99-BD43-7C0AE76DCA8B}" dt="2024-07-05T13:26:21.555" v="4889" actId="478"/>
          <ac:spMkLst>
            <pc:docMk/>
            <pc:sldMk cId="3806905397" sldId="3258"/>
            <ac:spMk id="6" creationId="{9B6A052D-8A50-38B9-A1D6-ECEFE490EAF5}"/>
          </ac:spMkLst>
        </pc:spChg>
        <pc:spChg chg="add del mod">
          <ac:chgData name="Pierugo Pace" userId="2226acec-25d1-48aa-b467-65eac8578bef" providerId="ADAL" clId="{C473F347-30E6-4F99-BD43-7C0AE76DCA8B}" dt="2024-07-08T08:05:03.840" v="6261" actId="478"/>
          <ac:spMkLst>
            <pc:docMk/>
            <pc:sldMk cId="3806905397" sldId="3258"/>
            <ac:spMk id="6" creationId="{9F10EB19-B4D1-5B3F-21EF-5A0F6C731040}"/>
          </ac:spMkLst>
        </pc:spChg>
        <pc:spChg chg="del">
          <ac:chgData name="Pierugo Pace" userId="2226acec-25d1-48aa-b467-65eac8578bef" providerId="ADAL" clId="{C473F347-30E6-4F99-BD43-7C0AE76DCA8B}" dt="2024-07-05T12:29:57.724" v="4333" actId="478"/>
          <ac:spMkLst>
            <pc:docMk/>
            <pc:sldMk cId="3806905397" sldId="3258"/>
            <ac:spMk id="7" creationId="{16E2FE2A-FABA-B694-3864-684CCC52739A}"/>
          </ac:spMkLst>
        </pc:spChg>
        <pc:spChg chg="add del mod">
          <ac:chgData name="Pierugo Pace" userId="2226acec-25d1-48aa-b467-65eac8578bef" providerId="ADAL" clId="{C473F347-30E6-4F99-BD43-7C0AE76DCA8B}" dt="2024-07-08T08:16:23.840" v="6389" actId="478"/>
          <ac:spMkLst>
            <pc:docMk/>
            <pc:sldMk cId="3806905397" sldId="3258"/>
            <ac:spMk id="7" creationId="{2CFF9857-75CF-C81B-7803-FC18B13ED3BD}"/>
          </ac:spMkLst>
        </pc:spChg>
        <pc:spChg chg="add mod">
          <ac:chgData name="Pierugo Pace" userId="2226acec-25d1-48aa-b467-65eac8578bef" providerId="ADAL" clId="{C473F347-30E6-4F99-BD43-7C0AE76DCA8B}" dt="2024-07-08T08:17:28.737" v="6398" actId="1076"/>
          <ac:spMkLst>
            <pc:docMk/>
            <pc:sldMk cId="3806905397" sldId="3258"/>
            <ac:spMk id="8" creationId="{98F119C4-EFAA-9512-A471-1273E2278617}"/>
          </ac:spMkLst>
        </pc:spChg>
        <pc:spChg chg="del mod">
          <ac:chgData name="Pierugo Pace" userId="2226acec-25d1-48aa-b467-65eac8578bef" providerId="ADAL" clId="{C473F347-30E6-4F99-BD43-7C0AE76DCA8B}" dt="2024-07-05T13:26:19.452" v="4887" actId="478"/>
          <ac:spMkLst>
            <pc:docMk/>
            <pc:sldMk cId="3806905397" sldId="3258"/>
            <ac:spMk id="8" creationId="{EA256C8C-6C7B-75BA-A2E9-78123262BDCA}"/>
          </ac:spMkLst>
        </pc:spChg>
        <pc:spChg chg="add mod">
          <ac:chgData name="Pierugo Pace" userId="2226acec-25d1-48aa-b467-65eac8578bef" providerId="ADAL" clId="{C473F347-30E6-4F99-BD43-7C0AE76DCA8B}" dt="2024-07-08T08:17:37.872" v="6399"/>
          <ac:spMkLst>
            <pc:docMk/>
            <pc:sldMk cId="3806905397" sldId="3258"/>
            <ac:spMk id="9" creationId="{CA0A4A9C-D28E-3E6A-6444-1227BE82258A}"/>
          </ac:spMkLst>
        </pc:spChg>
        <pc:spChg chg="add mod topLvl">
          <ac:chgData name="Pierugo Pace" userId="2226acec-25d1-48aa-b467-65eac8578bef" providerId="ADAL" clId="{C473F347-30E6-4F99-BD43-7C0AE76DCA8B}" dt="2024-07-10T12:10:56.184" v="7439" actId="1076"/>
          <ac:spMkLst>
            <pc:docMk/>
            <pc:sldMk cId="3806905397" sldId="3258"/>
            <ac:spMk id="10" creationId="{B80566C9-12DB-EAD8-3BDE-8501A28EF58B}"/>
          </ac:spMkLst>
        </pc:spChg>
        <pc:spChg chg="add mod">
          <ac:chgData name="Pierugo Pace" userId="2226acec-25d1-48aa-b467-65eac8578bef" providerId="ADAL" clId="{C473F347-30E6-4F99-BD43-7C0AE76DCA8B}" dt="2024-07-08T08:17:41.445" v="6400"/>
          <ac:spMkLst>
            <pc:docMk/>
            <pc:sldMk cId="3806905397" sldId="3258"/>
            <ac:spMk id="11" creationId="{DB386E68-1D05-5E07-3A18-A11C96D513A7}"/>
          </ac:spMkLst>
        </pc:spChg>
        <pc:spChg chg="add mod">
          <ac:chgData name="Pierugo Pace" userId="2226acec-25d1-48aa-b467-65eac8578bef" providerId="ADAL" clId="{C473F347-30E6-4F99-BD43-7C0AE76DCA8B}" dt="2024-07-08T08:17:42.390" v="6401"/>
          <ac:spMkLst>
            <pc:docMk/>
            <pc:sldMk cId="3806905397" sldId="3258"/>
            <ac:spMk id="13" creationId="{313FEA41-A217-ACDC-D296-F4682089ABFD}"/>
          </ac:spMkLst>
        </pc:spChg>
        <pc:spChg chg="add mod">
          <ac:chgData name="Pierugo Pace" userId="2226acec-25d1-48aa-b467-65eac8578bef" providerId="ADAL" clId="{C473F347-30E6-4F99-BD43-7C0AE76DCA8B}" dt="2024-07-08T08:17:43.284" v="6402"/>
          <ac:spMkLst>
            <pc:docMk/>
            <pc:sldMk cId="3806905397" sldId="3258"/>
            <ac:spMk id="14" creationId="{88D994F9-4CB3-2911-8C6B-C3C8D430F456}"/>
          </ac:spMkLst>
        </pc:spChg>
        <pc:spChg chg="add mod">
          <ac:chgData name="Pierugo Pace" userId="2226acec-25d1-48aa-b467-65eac8578bef" providerId="ADAL" clId="{C473F347-30E6-4F99-BD43-7C0AE76DCA8B}" dt="2024-07-05T12:42:24.317" v="4479" actId="1076"/>
          <ac:spMkLst>
            <pc:docMk/>
            <pc:sldMk cId="3806905397" sldId="3258"/>
            <ac:spMk id="15" creationId="{743F1D38-9E55-50FC-2C85-63DB515BE4C0}"/>
          </ac:spMkLst>
        </pc:spChg>
        <pc:spChg chg="add mod">
          <ac:chgData name="Pierugo Pace" userId="2226acec-25d1-48aa-b467-65eac8578bef" providerId="ADAL" clId="{C473F347-30E6-4F99-BD43-7C0AE76DCA8B}" dt="2024-07-08T08:17:44.395" v="6403"/>
          <ac:spMkLst>
            <pc:docMk/>
            <pc:sldMk cId="3806905397" sldId="3258"/>
            <ac:spMk id="15" creationId="{CF511490-57B7-3E64-483D-5C21CFD00A31}"/>
          </ac:spMkLst>
        </pc:spChg>
        <pc:spChg chg="mod topLvl">
          <ac:chgData name="Pierugo Pace" userId="2226acec-25d1-48aa-b467-65eac8578bef" providerId="ADAL" clId="{C473F347-30E6-4F99-BD43-7C0AE76DCA8B}" dt="2024-07-08T08:19:27.862" v="6430" actId="20577"/>
          <ac:spMkLst>
            <pc:docMk/>
            <pc:sldMk cId="3806905397" sldId="3258"/>
            <ac:spMk id="17" creationId="{DA34640C-21BF-FFD5-A9A7-64F9EE78A35C}"/>
          </ac:spMkLst>
        </pc:spChg>
        <pc:spChg chg="del mod">
          <ac:chgData name="Pierugo Pace" userId="2226acec-25d1-48aa-b467-65eac8578bef" providerId="ADAL" clId="{C473F347-30E6-4F99-BD43-7C0AE76DCA8B}" dt="2024-07-05T12:52:27.162" v="4495" actId="478"/>
          <ac:spMkLst>
            <pc:docMk/>
            <pc:sldMk cId="3806905397" sldId="3258"/>
            <ac:spMk id="18" creationId="{E3E6F604-7AE0-F27A-EE27-817C0CDEB4E2}"/>
          </ac:spMkLst>
        </pc:spChg>
        <pc:spChg chg="mod topLvl">
          <ac:chgData name="Pierugo Pace" userId="2226acec-25d1-48aa-b467-65eac8578bef" providerId="ADAL" clId="{C473F347-30E6-4F99-BD43-7C0AE76DCA8B}" dt="2024-07-10T12:41:16.555" v="7839" actId="14100"/>
          <ac:spMkLst>
            <pc:docMk/>
            <pc:sldMk cId="3806905397" sldId="3258"/>
            <ac:spMk id="19" creationId="{519FBEE0-C313-CE5D-C336-D74D55FA46E2}"/>
          </ac:spMkLst>
        </pc:spChg>
        <pc:spChg chg="add del mod">
          <ac:chgData name="Pierugo Pace" userId="2226acec-25d1-48aa-b467-65eac8578bef" providerId="ADAL" clId="{C473F347-30E6-4F99-BD43-7C0AE76DCA8B}" dt="2024-07-05T12:52:52.442" v="4506" actId="478"/>
          <ac:spMkLst>
            <pc:docMk/>
            <pc:sldMk cId="3806905397" sldId="3258"/>
            <ac:spMk id="20" creationId="{78268581-BB47-70DD-6ABA-7A986B1543FD}"/>
          </ac:spMkLst>
        </pc:spChg>
        <pc:spChg chg="add mod topLvl">
          <ac:chgData name="Pierugo Pace" userId="2226acec-25d1-48aa-b467-65eac8578bef" providerId="ADAL" clId="{C473F347-30E6-4F99-BD43-7C0AE76DCA8B}" dt="2024-07-08T08:19:27.862" v="6430" actId="20577"/>
          <ac:spMkLst>
            <pc:docMk/>
            <pc:sldMk cId="3806905397" sldId="3258"/>
            <ac:spMk id="22" creationId="{5E1A6FA3-450D-882B-E55F-FCEC722EFBBC}"/>
          </ac:spMkLst>
        </pc:spChg>
        <pc:spChg chg="add mod topLvl">
          <ac:chgData name="Pierugo Pace" userId="2226acec-25d1-48aa-b467-65eac8578bef" providerId="ADAL" clId="{C473F347-30E6-4F99-BD43-7C0AE76DCA8B}" dt="2024-07-08T08:19:27.862" v="6430" actId="20577"/>
          <ac:spMkLst>
            <pc:docMk/>
            <pc:sldMk cId="3806905397" sldId="3258"/>
            <ac:spMk id="23" creationId="{9A15C805-A6D5-3C06-BDA5-CD974493CB4B}"/>
          </ac:spMkLst>
        </pc:spChg>
        <pc:spChg chg="add mod topLvl">
          <ac:chgData name="Pierugo Pace" userId="2226acec-25d1-48aa-b467-65eac8578bef" providerId="ADAL" clId="{C473F347-30E6-4F99-BD43-7C0AE76DCA8B}" dt="2024-07-08T08:19:27.862" v="6430" actId="20577"/>
          <ac:spMkLst>
            <pc:docMk/>
            <pc:sldMk cId="3806905397" sldId="3258"/>
            <ac:spMk id="26" creationId="{3E7C058E-AB30-6D83-34BC-6A2EE4473A38}"/>
          </ac:spMkLst>
        </pc:spChg>
        <pc:spChg chg="add mod topLvl">
          <ac:chgData name="Pierugo Pace" userId="2226acec-25d1-48aa-b467-65eac8578bef" providerId="ADAL" clId="{C473F347-30E6-4F99-BD43-7C0AE76DCA8B}" dt="2024-07-08T08:19:27.862" v="6430" actId="20577"/>
          <ac:spMkLst>
            <pc:docMk/>
            <pc:sldMk cId="3806905397" sldId="3258"/>
            <ac:spMk id="28" creationId="{72C8EAB9-F625-1118-A384-638E4FCE2A63}"/>
          </ac:spMkLst>
        </pc:spChg>
        <pc:spChg chg="add del mod">
          <ac:chgData name="Pierugo Pace" userId="2226acec-25d1-48aa-b467-65eac8578bef" providerId="ADAL" clId="{C473F347-30E6-4F99-BD43-7C0AE76DCA8B}" dt="2024-07-05T13:01:39.222" v="4622" actId="478"/>
          <ac:spMkLst>
            <pc:docMk/>
            <pc:sldMk cId="3806905397" sldId="3258"/>
            <ac:spMk id="29" creationId="{5985BAAE-9A7E-9C94-83E6-6A21D6655D33}"/>
          </ac:spMkLst>
        </pc:spChg>
        <pc:spChg chg="add mod topLvl">
          <ac:chgData name="Pierugo Pace" userId="2226acec-25d1-48aa-b467-65eac8578bef" providerId="ADAL" clId="{C473F347-30E6-4F99-BD43-7C0AE76DCA8B}" dt="2024-07-10T12:41:20.462" v="7840" actId="14100"/>
          <ac:spMkLst>
            <pc:docMk/>
            <pc:sldMk cId="3806905397" sldId="3258"/>
            <ac:spMk id="30" creationId="{31D609C8-2F3E-14CE-A965-F02EAAA5529A}"/>
          </ac:spMkLst>
        </pc:spChg>
        <pc:spChg chg="add mod topLvl">
          <ac:chgData name="Pierugo Pace" userId="2226acec-25d1-48aa-b467-65eac8578bef" providerId="ADAL" clId="{C473F347-30E6-4F99-BD43-7C0AE76DCA8B}" dt="2024-07-08T08:19:27.862" v="6430" actId="20577"/>
          <ac:spMkLst>
            <pc:docMk/>
            <pc:sldMk cId="3806905397" sldId="3258"/>
            <ac:spMk id="32" creationId="{EC8EF652-8D48-4898-A61D-9AABB00935FD}"/>
          </ac:spMkLst>
        </pc:spChg>
        <pc:spChg chg="add mod">
          <ac:chgData name="Pierugo Pace" userId="2226acec-25d1-48aa-b467-65eac8578bef" providerId="ADAL" clId="{C473F347-30E6-4F99-BD43-7C0AE76DCA8B}" dt="2024-07-05T13:03:34.345" v="4639" actId="571"/>
          <ac:spMkLst>
            <pc:docMk/>
            <pc:sldMk cId="3806905397" sldId="3258"/>
            <ac:spMk id="33" creationId="{6E785FFB-9693-20A2-C86A-57FCAF9A9E1A}"/>
          </ac:spMkLst>
        </pc:spChg>
        <pc:spChg chg="add del mod topLvl">
          <ac:chgData name="Pierugo Pace" userId="2226acec-25d1-48aa-b467-65eac8578bef" providerId="ADAL" clId="{C473F347-30E6-4F99-BD43-7C0AE76DCA8B}" dt="2024-07-05T13:20:17.787" v="4773" actId="478"/>
          <ac:spMkLst>
            <pc:docMk/>
            <pc:sldMk cId="3806905397" sldId="3258"/>
            <ac:spMk id="34" creationId="{7D53A759-22E6-FE06-D1A0-EF364CAAE9B2}"/>
          </ac:spMkLst>
        </pc:spChg>
        <pc:spChg chg="add del mod">
          <ac:chgData name="Pierugo Pace" userId="2226acec-25d1-48aa-b467-65eac8578bef" providerId="ADAL" clId="{C473F347-30E6-4F99-BD43-7C0AE76DCA8B}" dt="2024-07-05T13:04:21.515" v="4644" actId="478"/>
          <ac:spMkLst>
            <pc:docMk/>
            <pc:sldMk cId="3806905397" sldId="3258"/>
            <ac:spMk id="35" creationId="{A5D622DB-C479-7EC9-D292-D36EB87A25DB}"/>
          </ac:spMkLst>
        </pc:spChg>
        <pc:spChg chg="add mod">
          <ac:chgData name="Pierugo Pace" userId="2226acec-25d1-48aa-b467-65eac8578bef" providerId="ADAL" clId="{C473F347-30E6-4F99-BD43-7C0AE76DCA8B}" dt="2024-07-05T13:04:52.365" v="4649" actId="1076"/>
          <ac:spMkLst>
            <pc:docMk/>
            <pc:sldMk cId="3806905397" sldId="3258"/>
            <ac:spMk id="36" creationId="{78C7D457-4C3B-68A5-0B3F-C86728E644B1}"/>
          </ac:spMkLst>
        </pc:spChg>
        <pc:spChg chg="add mod">
          <ac:chgData name="Pierugo Pace" userId="2226acec-25d1-48aa-b467-65eac8578bef" providerId="ADAL" clId="{C473F347-30E6-4F99-BD43-7C0AE76DCA8B}" dt="2024-07-05T13:04:52.365" v="4649" actId="1076"/>
          <ac:spMkLst>
            <pc:docMk/>
            <pc:sldMk cId="3806905397" sldId="3258"/>
            <ac:spMk id="38" creationId="{5C6DF732-95D3-F489-3E56-FFF3D5C19616}"/>
          </ac:spMkLst>
        </pc:spChg>
        <pc:spChg chg="add mod topLvl">
          <ac:chgData name="Pierugo Pace" userId="2226acec-25d1-48aa-b467-65eac8578bef" providerId="ADAL" clId="{C473F347-30E6-4F99-BD43-7C0AE76DCA8B}" dt="2024-07-10T12:41:23.788" v="7841" actId="14100"/>
          <ac:spMkLst>
            <pc:docMk/>
            <pc:sldMk cId="3806905397" sldId="3258"/>
            <ac:spMk id="39" creationId="{FBAEE39A-F0DF-04C3-4758-C159E1DE830F}"/>
          </ac:spMkLst>
        </pc:spChg>
        <pc:spChg chg="add mod topLvl">
          <ac:chgData name="Pierugo Pace" userId="2226acec-25d1-48aa-b467-65eac8578bef" providerId="ADAL" clId="{C473F347-30E6-4F99-BD43-7C0AE76DCA8B}" dt="2024-07-08T08:19:27.862" v="6430" actId="20577"/>
          <ac:spMkLst>
            <pc:docMk/>
            <pc:sldMk cId="3806905397" sldId="3258"/>
            <ac:spMk id="41" creationId="{28DA578F-306A-B5A5-7899-FDF719A152B8}"/>
          </ac:spMkLst>
        </pc:spChg>
        <pc:spChg chg="add mod">
          <ac:chgData name="Pierugo Pace" userId="2226acec-25d1-48aa-b467-65eac8578bef" providerId="ADAL" clId="{C473F347-30E6-4F99-BD43-7C0AE76DCA8B}" dt="2024-07-05T13:07:21.604" v="4656"/>
          <ac:spMkLst>
            <pc:docMk/>
            <pc:sldMk cId="3806905397" sldId="3258"/>
            <ac:spMk id="42" creationId="{C2607CC2-F098-9EDD-235E-BBB82F84832E}"/>
          </ac:spMkLst>
        </pc:spChg>
        <pc:spChg chg="add mod topLvl">
          <ac:chgData name="Pierugo Pace" userId="2226acec-25d1-48aa-b467-65eac8578bef" providerId="ADAL" clId="{C473F347-30E6-4F99-BD43-7C0AE76DCA8B}" dt="2024-07-08T08:19:27.862" v="6430" actId="20577"/>
          <ac:spMkLst>
            <pc:docMk/>
            <pc:sldMk cId="3806905397" sldId="3258"/>
            <ac:spMk id="43" creationId="{59CC3189-BE11-9591-C3C6-328F7BE6B0D1}"/>
          </ac:spMkLst>
        </pc:spChg>
        <pc:spChg chg="add del mod">
          <ac:chgData name="Pierugo Pace" userId="2226acec-25d1-48aa-b467-65eac8578bef" providerId="ADAL" clId="{C473F347-30E6-4F99-BD43-7C0AE76DCA8B}" dt="2024-07-05T13:08:37.032" v="4666" actId="478"/>
          <ac:spMkLst>
            <pc:docMk/>
            <pc:sldMk cId="3806905397" sldId="3258"/>
            <ac:spMk id="45" creationId="{FFC66389-ABC2-C98E-6BCC-2B0C28F0B311}"/>
          </ac:spMkLst>
        </pc:spChg>
        <pc:spChg chg="mod">
          <ac:chgData name="Pierugo Pace" userId="2226acec-25d1-48aa-b467-65eac8578bef" providerId="ADAL" clId="{C473F347-30E6-4F99-BD43-7C0AE76DCA8B}" dt="2024-07-05T13:09:38.569" v="4676" actId="115"/>
          <ac:spMkLst>
            <pc:docMk/>
            <pc:sldMk cId="3806905397" sldId="3258"/>
            <ac:spMk id="47" creationId="{E265511E-D3C9-5E16-A69B-F04FDA1C76E0}"/>
          </ac:spMkLst>
        </pc:spChg>
        <pc:spChg chg="mod">
          <ac:chgData name="Pierugo Pace" userId="2226acec-25d1-48aa-b467-65eac8578bef" providerId="ADAL" clId="{C473F347-30E6-4F99-BD43-7C0AE76DCA8B}" dt="2024-07-05T13:09:38.569" v="4676" actId="115"/>
          <ac:spMkLst>
            <pc:docMk/>
            <pc:sldMk cId="3806905397" sldId="3258"/>
            <ac:spMk id="48" creationId="{C72DE99E-29C0-9AE7-C26B-8EE132BF85BD}"/>
          </ac:spMkLst>
        </pc:spChg>
        <pc:spChg chg="mod">
          <ac:chgData name="Pierugo Pace" userId="2226acec-25d1-48aa-b467-65eac8578bef" providerId="ADAL" clId="{C473F347-30E6-4F99-BD43-7C0AE76DCA8B}" dt="2024-07-05T13:09:38.569" v="4676" actId="115"/>
          <ac:spMkLst>
            <pc:docMk/>
            <pc:sldMk cId="3806905397" sldId="3258"/>
            <ac:spMk id="49" creationId="{039C1DE4-0FA1-327B-F6EA-586620C2F382}"/>
          </ac:spMkLst>
        </pc:spChg>
        <pc:spChg chg="mod">
          <ac:chgData name="Pierugo Pace" userId="2226acec-25d1-48aa-b467-65eac8578bef" providerId="ADAL" clId="{C473F347-30E6-4F99-BD43-7C0AE76DCA8B}" dt="2024-07-05T13:09:38.569" v="4676" actId="115"/>
          <ac:spMkLst>
            <pc:docMk/>
            <pc:sldMk cId="3806905397" sldId="3258"/>
            <ac:spMk id="50" creationId="{2CBA4ECD-BB73-2C4E-8407-AA7C46B2F453}"/>
          </ac:spMkLst>
        </pc:spChg>
        <pc:spChg chg="mod">
          <ac:chgData name="Pierugo Pace" userId="2226acec-25d1-48aa-b467-65eac8578bef" providerId="ADAL" clId="{C473F347-30E6-4F99-BD43-7C0AE76DCA8B}" dt="2024-07-05T13:09:38.569" v="4676" actId="115"/>
          <ac:spMkLst>
            <pc:docMk/>
            <pc:sldMk cId="3806905397" sldId="3258"/>
            <ac:spMk id="52" creationId="{F28140DA-8847-5E7D-0A7B-F27F072FC9C0}"/>
          </ac:spMkLst>
        </pc:spChg>
        <pc:spChg chg="mod">
          <ac:chgData name="Pierugo Pace" userId="2226acec-25d1-48aa-b467-65eac8578bef" providerId="ADAL" clId="{C473F347-30E6-4F99-BD43-7C0AE76DCA8B}" dt="2024-07-05T13:09:38.569" v="4676" actId="115"/>
          <ac:spMkLst>
            <pc:docMk/>
            <pc:sldMk cId="3806905397" sldId="3258"/>
            <ac:spMk id="53" creationId="{B9647900-39E7-F351-C56F-E71D9113EDE7}"/>
          </ac:spMkLst>
        </pc:spChg>
        <pc:spChg chg="mod">
          <ac:chgData name="Pierugo Pace" userId="2226acec-25d1-48aa-b467-65eac8578bef" providerId="ADAL" clId="{C473F347-30E6-4F99-BD43-7C0AE76DCA8B}" dt="2024-07-05T13:09:38.569" v="4676" actId="115"/>
          <ac:spMkLst>
            <pc:docMk/>
            <pc:sldMk cId="3806905397" sldId="3258"/>
            <ac:spMk id="55" creationId="{523E2DAE-C05E-8814-78EA-78FF03CBB2E1}"/>
          </ac:spMkLst>
        </pc:spChg>
        <pc:spChg chg="mod">
          <ac:chgData name="Pierugo Pace" userId="2226acec-25d1-48aa-b467-65eac8578bef" providerId="ADAL" clId="{C473F347-30E6-4F99-BD43-7C0AE76DCA8B}" dt="2024-07-05T13:09:38.569" v="4676" actId="115"/>
          <ac:spMkLst>
            <pc:docMk/>
            <pc:sldMk cId="3806905397" sldId="3258"/>
            <ac:spMk id="56" creationId="{C9EDCE2D-19F7-285A-85A8-C7A4C779F549}"/>
          </ac:spMkLst>
        </pc:spChg>
        <pc:spChg chg="mod">
          <ac:chgData name="Pierugo Pace" userId="2226acec-25d1-48aa-b467-65eac8578bef" providerId="ADAL" clId="{C473F347-30E6-4F99-BD43-7C0AE76DCA8B}" dt="2024-07-05T13:09:38.569" v="4676" actId="115"/>
          <ac:spMkLst>
            <pc:docMk/>
            <pc:sldMk cId="3806905397" sldId="3258"/>
            <ac:spMk id="59" creationId="{33334259-38F9-7BE8-EF2D-8C85B91B4E2A}"/>
          </ac:spMkLst>
        </pc:spChg>
        <pc:spChg chg="mod">
          <ac:chgData name="Pierugo Pace" userId="2226acec-25d1-48aa-b467-65eac8578bef" providerId="ADAL" clId="{C473F347-30E6-4F99-BD43-7C0AE76DCA8B}" dt="2024-07-05T13:09:38.569" v="4676" actId="115"/>
          <ac:spMkLst>
            <pc:docMk/>
            <pc:sldMk cId="3806905397" sldId="3258"/>
            <ac:spMk id="61" creationId="{3A13BEA5-ADB9-F5DF-514B-5CC0BA5D927C}"/>
          </ac:spMkLst>
        </pc:spChg>
        <pc:spChg chg="mod">
          <ac:chgData name="Pierugo Pace" userId="2226acec-25d1-48aa-b467-65eac8578bef" providerId="ADAL" clId="{C473F347-30E6-4F99-BD43-7C0AE76DCA8B}" dt="2024-07-05T13:09:38.569" v="4676" actId="115"/>
          <ac:spMkLst>
            <pc:docMk/>
            <pc:sldMk cId="3806905397" sldId="3258"/>
            <ac:spMk id="62" creationId="{24F0EEF8-6B36-FAD0-D335-0EE16159693A}"/>
          </ac:spMkLst>
        </pc:spChg>
        <pc:spChg chg="mod">
          <ac:chgData name="Pierugo Pace" userId="2226acec-25d1-48aa-b467-65eac8578bef" providerId="ADAL" clId="{C473F347-30E6-4F99-BD43-7C0AE76DCA8B}" dt="2024-07-05T13:09:38.569" v="4676" actId="115"/>
          <ac:spMkLst>
            <pc:docMk/>
            <pc:sldMk cId="3806905397" sldId="3258"/>
            <ac:spMk id="64" creationId="{1C3406E0-ED76-FB16-73A0-6C95FA06D7E6}"/>
          </ac:spMkLst>
        </pc:spChg>
        <pc:spChg chg="mod">
          <ac:chgData name="Pierugo Pace" userId="2226acec-25d1-48aa-b467-65eac8578bef" providerId="ADAL" clId="{C473F347-30E6-4F99-BD43-7C0AE76DCA8B}" dt="2024-07-05T13:09:38.569" v="4676" actId="115"/>
          <ac:spMkLst>
            <pc:docMk/>
            <pc:sldMk cId="3806905397" sldId="3258"/>
            <ac:spMk id="65" creationId="{818B7D1A-717A-AE42-A9D3-2F5D5C0039DB}"/>
          </ac:spMkLst>
        </pc:spChg>
        <pc:spChg chg="mod">
          <ac:chgData name="Pierugo Pace" userId="2226acec-25d1-48aa-b467-65eac8578bef" providerId="ADAL" clId="{C473F347-30E6-4F99-BD43-7C0AE76DCA8B}" dt="2024-07-05T13:09:38.569" v="4676" actId="115"/>
          <ac:spMkLst>
            <pc:docMk/>
            <pc:sldMk cId="3806905397" sldId="3258"/>
            <ac:spMk id="66" creationId="{BA01DD8F-187A-EFDE-78F8-C886A33E6C4B}"/>
          </ac:spMkLst>
        </pc:spChg>
        <pc:spChg chg="mod">
          <ac:chgData name="Pierugo Pace" userId="2226acec-25d1-48aa-b467-65eac8578bef" providerId="ADAL" clId="{C473F347-30E6-4F99-BD43-7C0AE76DCA8B}" dt="2024-07-05T13:09:38.569" v="4676" actId="115"/>
          <ac:spMkLst>
            <pc:docMk/>
            <pc:sldMk cId="3806905397" sldId="3258"/>
            <ac:spMk id="68" creationId="{EF966E05-6828-F325-5539-D4FCE5442BF5}"/>
          </ac:spMkLst>
        </pc:spChg>
        <pc:spChg chg="mod">
          <ac:chgData name="Pierugo Pace" userId="2226acec-25d1-48aa-b467-65eac8578bef" providerId="ADAL" clId="{C473F347-30E6-4F99-BD43-7C0AE76DCA8B}" dt="2024-07-05T13:09:38.569" v="4676" actId="115"/>
          <ac:spMkLst>
            <pc:docMk/>
            <pc:sldMk cId="3806905397" sldId="3258"/>
            <ac:spMk id="69" creationId="{A9D9E73B-32C5-D259-D33F-31771D3BFA52}"/>
          </ac:spMkLst>
        </pc:spChg>
        <pc:spChg chg="del mod topLvl">
          <ac:chgData name="Pierugo Pace" userId="2226acec-25d1-48aa-b467-65eac8578bef" providerId="ADAL" clId="{C473F347-30E6-4F99-BD43-7C0AE76DCA8B}" dt="2024-07-05T13:20:59.841" v="4784" actId="478"/>
          <ac:spMkLst>
            <pc:docMk/>
            <pc:sldMk cId="3806905397" sldId="3258"/>
            <ac:spMk id="71" creationId="{A6DEA5BC-5E89-FC12-435C-E1CDBAE9240F}"/>
          </ac:spMkLst>
        </pc:spChg>
        <pc:spChg chg="mod topLvl">
          <ac:chgData name="Pierugo Pace" userId="2226acec-25d1-48aa-b467-65eac8578bef" providerId="ADAL" clId="{C473F347-30E6-4F99-BD43-7C0AE76DCA8B}" dt="2024-07-10T12:10:45.159" v="7436" actId="20577"/>
          <ac:spMkLst>
            <pc:docMk/>
            <pc:sldMk cId="3806905397" sldId="3258"/>
            <ac:spMk id="72" creationId="{E6E8A597-AF03-4425-F3FD-C0E495332932}"/>
          </ac:spMkLst>
        </pc:spChg>
        <pc:spChg chg="mod topLvl">
          <ac:chgData name="Pierugo Pace" userId="2226acec-25d1-48aa-b467-65eac8578bef" providerId="ADAL" clId="{C473F347-30E6-4F99-BD43-7C0AE76DCA8B}" dt="2024-07-10T12:41:27.506" v="7843" actId="14100"/>
          <ac:spMkLst>
            <pc:docMk/>
            <pc:sldMk cId="3806905397" sldId="3258"/>
            <ac:spMk id="73" creationId="{B8970E0F-97BB-B338-927F-B4EE7109E61C}"/>
          </ac:spMkLst>
        </pc:spChg>
        <pc:spChg chg="mod topLvl">
          <ac:chgData name="Pierugo Pace" userId="2226acec-25d1-48aa-b467-65eac8578bef" providerId="ADAL" clId="{C473F347-30E6-4F99-BD43-7C0AE76DCA8B}" dt="2024-07-10T12:10:48.385" v="7437" actId="1076"/>
          <ac:spMkLst>
            <pc:docMk/>
            <pc:sldMk cId="3806905397" sldId="3258"/>
            <ac:spMk id="74" creationId="{CDA9B1A0-F203-E283-7398-BE67C8A647A7}"/>
          </ac:spMkLst>
        </pc:spChg>
        <pc:spChg chg="del mod topLvl">
          <ac:chgData name="Pierugo Pace" userId="2226acec-25d1-48aa-b467-65eac8578bef" providerId="ADAL" clId="{C473F347-30E6-4F99-BD43-7C0AE76DCA8B}" dt="2024-07-05T13:21:14.449" v="4786" actId="478"/>
          <ac:spMkLst>
            <pc:docMk/>
            <pc:sldMk cId="3806905397" sldId="3258"/>
            <ac:spMk id="76" creationId="{B5543200-F153-9CE5-82AE-04743C4C5830}"/>
          </ac:spMkLst>
        </pc:spChg>
        <pc:spChg chg="mod topLvl">
          <ac:chgData name="Pierugo Pace" userId="2226acec-25d1-48aa-b467-65eac8578bef" providerId="ADAL" clId="{C473F347-30E6-4F99-BD43-7C0AE76DCA8B}" dt="2024-07-10T12:41:29.526" v="7844" actId="14100"/>
          <ac:spMkLst>
            <pc:docMk/>
            <pc:sldMk cId="3806905397" sldId="3258"/>
            <ac:spMk id="77" creationId="{99A43406-4CA8-4C06-5E47-9F53C6DA87F3}"/>
          </ac:spMkLst>
        </pc:spChg>
        <pc:spChg chg="del mod topLvl">
          <ac:chgData name="Pierugo Pace" userId="2226acec-25d1-48aa-b467-65eac8578bef" providerId="ADAL" clId="{C473F347-30E6-4F99-BD43-7C0AE76DCA8B}" dt="2024-07-05T13:21:35.985" v="4788" actId="478"/>
          <ac:spMkLst>
            <pc:docMk/>
            <pc:sldMk cId="3806905397" sldId="3258"/>
            <ac:spMk id="79" creationId="{5794469A-F198-B06C-4933-DAE15965EB7D}"/>
          </ac:spMkLst>
        </pc:spChg>
        <pc:spChg chg="mod topLvl">
          <ac:chgData name="Pierugo Pace" userId="2226acec-25d1-48aa-b467-65eac8578bef" providerId="ADAL" clId="{C473F347-30E6-4F99-BD43-7C0AE76DCA8B}" dt="2024-07-10T12:10:45.159" v="7436" actId="20577"/>
          <ac:spMkLst>
            <pc:docMk/>
            <pc:sldMk cId="3806905397" sldId="3258"/>
            <ac:spMk id="80" creationId="{C3ACEFD2-3619-DE38-1B12-DCAB1799C88C}"/>
          </ac:spMkLst>
        </pc:spChg>
        <pc:spChg chg="mod topLvl">
          <ac:chgData name="Pierugo Pace" userId="2226acec-25d1-48aa-b467-65eac8578bef" providerId="ADAL" clId="{C473F347-30E6-4F99-BD43-7C0AE76DCA8B}" dt="2024-07-10T12:10:45.159" v="7436" actId="20577"/>
          <ac:spMkLst>
            <pc:docMk/>
            <pc:sldMk cId="3806905397" sldId="3258"/>
            <ac:spMk id="83" creationId="{A267C104-6D35-AA28-18B6-BEC259B80ADB}"/>
          </ac:spMkLst>
        </pc:spChg>
        <pc:spChg chg="mod topLvl">
          <ac:chgData name="Pierugo Pace" userId="2226acec-25d1-48aa-b467-65eac8578bef" providerId="ADAL" clId="{C473F347-30E6-4F99-BD43-7C0AE76DCA8B}" dt="2024-07-10T12:10:45.159" v="7436" actId="20577"/>
          <ac:spMkLst>
            <pc:docMk/>
            <pc:sldMk cId="3806905397" sldId="3258"/>
            <ac:spMk id="85" creationId="{D2D5B6C0-9D03-7807-9725-6D91A3F5664E}"/>
          </ac:spMkLst>
        </pc:spChg>
        <pc:spChg chg="mod topLvl">
          <ac:chgData name="Pierugo Pace" userId="2226acec-25d1-48aa-b467-65eac8578bef" providerId="ADAL" clId="{C473F347-30E6-4F99-BD43-7C0AE76DCA8B}" dt="2024-07-10T12:41:31.376" v="7845" actId="14100"/>
          <ac:spMkLst>
            <pc:docMk/>
            <pc:sldMk cId="3806905397" sldId="3258"/>
            <ac:spMk id="86" creationId="{C850247E-5DF3-5FF1-14A0-AD938BD5B432}"/>
          </ac:spMkLst>
        </pc:spChg>
        <pc:spChg chg="mod topLvl">
          <ac:chgData name="Pierugo Pace" userId="2226acec-25d1-48aa-b467-65eac8578bef" providerId="ADAL" clId="{C473F347-30E6-4F99-BD43-7C0AE76DCA8B}" dt="2024-07-10T12:10:45.159" v="7436" actId="20577"/>
          <ac:spMkLst>
            <pc:docMk/>
            <pc:sldMk cId="3806905397" sldId="3258"/>
            <ac:spMk id="88" creationId="{0E36B9BF-4D0C-8308-2278-EF2F7416D067}"/>
          </ac:spMkLst>
        </pc:spChg>
        <pc:spChg chg="del mod topLvl">
          <ac:chgData name="Pierugo Pace" userId="2226acec-25d1-48aa-b467-65eac8578bef" providerId="ADAL" clId="{C473F347-30E6-4F99-BD43-7C0AE76DCA8B}" dt="2024-07-05T13:20:25.618" v="4775" actId="478"/>
          <ac:spMkLst>
            <pc:docMk/>
            <pc:sldMk cId="3806905397" sldId="3258"/>
            <ac:spMk id="89" creationId="{C14553D9-2CBE-590B-CB57-92871F28C880}"/>
          </ac:spMkLst>
        </pc:spChg>
        <pc:spChg chg="mod topLvl">
          <ac:chgData name="Pierugo Pace" userId="2226acec-25d1-48aa-b467-65eac8578bef" providerId="ADAL" clId="{C473F347-30E6-4F99-BD43-7C0AE76DCA8B}" dt="2024-07-10T12:41:34.383" v="7846" actId="14100"/>
          <ac:spMkLst>
            <pc:docMk/>
            <pc:sldMk cId="3806905397" sldId="3258"/>
            <ac:spMk id="90" creationId="{615144D5-858C-BD04-B97B-5778D2D4CB4A}"/>
          </ac:spMkLst>
        </pc:spChg>
        <pc:spChg chg="mod topLvl">
          <ac:chgData name="Pierugo Pace" userId="2226acec-25d1-48aa-b467-65eac8578bef" providerId="ADAL" clId="{C473F347-30E6-4F99-BD43-7C0AE76DCA8B}" dt="2024-07-10T12:10:45.159" v="7436" actId="20577"/>
          <ac:spMkLst>
            <pc:docMk/>
            <pc:sldMk cId="3806905397" sldId="3258"/>
            <ac:spMk id="92" creationId="{8DFF9BF1-7F97-3B42-D123-7577521A221B}"/>
          </ac:spMkLst>
        </pc:spChg>
        <pc:spChg chg="mod topLvl">
          <ac:chgData name="Pierugo Pace" userId="2226acec-25d1-48aa-b467-65eac8578bef" providerId="ADAL" clId="{C473F347-30E6-4F99-BD43-7C0AE76DCA8B}" dt="2024-07-10T12:10:45.159" v="7436" actId="20577"/>
          <ac:spMkLst>
            <pc:docMk/>
            <pc:sldMk cId="3806905397" sldId="3258"/>
            <ac:spMk id="93" creationId="{708AEF89-D19A-A6CA-6A20-19138BD80B35}"/>
          </ac:spMkLst>
        </pc:spChg>
        <pc:spChg chg="add mod">
          <ac:chgData name="Pierugo Pace" userId="2226acec-25d1-48aa-b467-65eac8578bef" providerId="ADAL" clId="{C473F347-30E6-4F99-BD43-7C0AE76DCA8B}" dt="2024-07-05T13:10:54.914" v="4683"/>
          <ac:spMkLst>
            <pc:docMk/>
            <pc:sldMk cId="3806905397" sldId="3258"/>
            <ac:spMk id="94" creationId="{42749BE4-1488-F169-9512-6DC8A6EBF3C1}"/>
          </ac:spMkLst>
        </pc:spChg>
        <pc:spChg chg="add del mod topLvl">
          <ac:chgData name="Pierugo Pace" userId="2226acec-25d1-48aa-b467-65eac8578bef" providerId="ADAL" clId="{C473F347-30E6-4F99-BD43-7C0AE76DCA8B}" dt="2024-07-10T10:04:40.834" v="7318" actId="478"/>
          <ac:spMkLst>
            <pc:docMk/>
            <pc:sldMk cId="3806905397" sldId="3258"/>
            <ac:spMk id="95" creationId="{9427C599-1472-05C3-522F-B117DFE4AE68}"/>
          </ac:spMkLst>
        </pc:spChg>
        <pc:spChg chg="add del mod">
          <ac:chgData name="Pierugo Pace" userId="2226acec-25d1-48aa-b467-65eac8578bef" providerId="ADAL" clId="{C473F347-30E6-4F99-BD43-7C0AE76DCA8B}" dt="2024-07-10T10:05:45.871" v="7345" actId="478"/>
          <ac:spMkLst>
            <pc:docMk/>
            <pc:sldMk cId="3806905397" sldId="3258"/>
            <ac:spMk id="97" creationId="{4C5CFA87-B361-062E-5944-99E819251C1B}"/>
          </ac:spMkLst>
        </pc:spChg>
        <pc:spChg chg="add mod topLvl">
          <ac:chgData name="Pierugo Pace" userId="2226acec-25d1-48aa-b467-65eac8578bef" providerId="ADAL" clId="{C473F347-30E6-4F99-BD43-7C0AE76DCA8B}" dt="2024-07-10T12:10:45.159" v="7436" actId="20577"/>
          <ac:spMkLst>
            <pc:docMk/>
            <pc:sldMk cId="3806905397" sldId="3258"/>
            <ac:spMk id="101" creationId="{96910443-799E-CDE1-6153-55107CE12759}"/>
          </ac:spMkLst>
        </pc:spChg>
        <pc:spChg chg="add mod topLvl">
          <ac:chgData name="Pierugo Pace" userId="2226acec-25d1-48aa-b467-65eac8578bef" providerId="ADAL" clId="{C473F347-30E6-4F99-BD43-7C0AE76DCA8B}" dt="2024-07-10T12:10:45.159" v="7436" actId="20577"/>
          <ac:spMkLst>
            <pc:docMk/>
            <pc:sldMk cId="3806905397" sldId="3258"/>
            <ac:spMk id="102" creationId="{14885AB7-0BCB-C007-D0CF-473770AC3239}"/>
          </ac:spMkLst>
        </pc:spChg>
        <pc:spChg chg="add mod topLvl">
          <ac:chgData name="Pierugo Pace" userId="2226acec-25d1-48aa-b467-65eac8578bef" providerId="ADAL" clId="{C473F347-30E6-4F99-BD43-7C0AE76DCA8B}" dt="2024-07-10T12:10:45.159" v="7436" actId="20577"/>
          <ac:spMkLst>
            <pc:docMk/>
            <pc:sldMk cId="3806905397" sldId="3258"/>
            <ac:spMk id="103" creationId="{14699CAB-2ECF-6172-2025-FCD259172B6E}"/>
          </ac:spMkLst>
        </pc:spChg>
        <pc:spChg chg="add del mod">
          <ac:chgData name="Pierugo Pace" userId="2226acec-25d1-48aa-b467-65eac8578bef" providerId="ADAL" clId="{C473F347-30E6-4F99-BD43-7C0AE76DCA8B}" dt="2024-07-05T13:58:30.765" v="4907" actId="478"/>
          <ac:spMkLst>
            <pc:docMk/>
            <pc:sldMk cId="3806905397" sldId="3258"/>
            <ac:spMk id="106" creationId="{139F0E65-4BD9-1ABF-3ACC-9FC47310CDCE}"/>
          </ac:spMkLst>
        </pc:spChg>
        <pc:spChg chg="add del mod">
          <ac:chgData name="Pierugo Pace" userId="2226acec-25d1-48aa-b467-65eac8578bef" providerId="ADAL" clId="{C473F347-30E6-4F99-BD43-7C0AE76DCA8B}" dt="2024-07-05T13:26:20.698" v="4888" actId="478"/>
          <ac:spMkLst>
            <pc:docMk/>
            <pc:sldMk cId="3806905397" sldId="3258"/>
            <ac:spMk id="108" creationId="{E547EA64-6A18-6DF7-D6A4-84F069922705}"/>
          </ac:spMkLst>
        </pc:spChg>
        <pc:spChg chg="add del mod">
          <ac:chgData name="Pierugo Pace" userId="2226acec-25d1-48aa-b467-65eac8578bef" providerId="ADAL" clId="{C473F347-30E6-4F99-BD43-7C0AE76DCA8B}" dt="2024-07-05T13:26:23.292" v="4890" actId="478"/>
          <ac:spMkLst>
            <pc:docMk/>
            <pc:sldMk cId="3806905397" sldId="3258"/>
            <ac:spMk id="110" creationId="{B0304408-C5C9-8DA5-66CF-D7694033D22A}"/>
          </ac:spMkLst>
        </pc:spChg>
        <pc:spChg chg="mod">
          <ac:chgData name="Pierugo Pace" userId="2226acec-25d1-48aa-b467-65eac8578bef" providerId="ADAL" clId="{C473F347-30E6-4F99-BD43-7C0AE76DCA8B}" dt="2024-07-05T13:26:29.441" v="4892"/>
          <ac:spMkLst>
            <pc:docMk/>
            <pc:sldMk cId="3806905397" sldId="3258"/>
            <ac:spMk id="112" creationId="{77BB5288-89EA-4D3E-04E4-1F2DD554B242}"/>
          </ac:spMkLst>
        </pc:spChg>
        <pc:spChg chg="mod">
          <ac:chgData name="Pierugo Pace" userId="2226acec-25d1-48aa-b467-65eac8578bef" providerId="ADAL" clId="{C473F347-30E6-4F99-BD43-7C0AE76DCA8B}" dt="2024-07-05T13:26:29.441" v="4892"/>
          <ac:spMkLst>
            <pc:docMk/>
            <pc:sldMk cId="3806905397" sldId="3258"/>
            <ac:spMk id="113" creationId="{BB272B24-CC59-E630-CB2E-04BF43F4F2EC}"/>
          </ac:spMkLst>
        </pc:spChg>
        <pc:spChg chg="mod">
          <ac:chgData name="Pierugo Pace" userId="2226acec-25d1-48aa-b467-65eac8578bef" providerId="ADAL" clId="{C473F347-30E6-4F99-BD43-7C0AE76DCA8B}" dt="2024-07-05T13:26:29.441" v="4892"/>
          <ac:spMkLst>
            <pc:docMk/>
            <pc:sldMk cId="3806905397" sldId="3258"/>
            <ac:spMk id="114" creationId="{26262419-2BCF-8D4D-A540-CDF5131B75F7}"/>
          </ac:spMkLst>
        </pc:spChg>
        <pc:spChg chg="mod">
          <ac:chgData name="Pierugo Pace" userId="2226acec-25d1-48aa-b467-65eac8578bef" providerId="ADAL" clId="{C473F347-30E6-4F99-BD43-7C0AE76DCA8B}" dt="2024-07-05T13:26:29.441" v="4892"/>
          <ac:spMkLst>
            <pc:docMk/>
            <pc:sldMk cId="3806905397" sldId="3258"/>
            <ac:spMk id="116" creationId="{23C59715-69DB-9675-3775-8F721466B7C5}"/>
          </ac:spMkLst>
        </pc:spChg>
        <pc:spChg chg="mod">
          <ac:chgData name="Pierugo Pace" userId="2226acec-25d1-48aa-b467-65eac8578bef" providerId="ADAL" clId="{C473F347-30E6-4F99-BD43-7C0AE76DCA8B}" dt="2024-07-05T13:26:29.441" v="4892"/>
          <ac:spMkLst>
            <pc:docMk/>
            <pc:sldMk cId="3806905397" sldId="3258"/>
            <ac:spMk id="118" creationId="{0DD61675-C78B-4785-0983-C78115FC334A}"/>
          </ac:spMkLst>
        </pc:spChg>
        <pc:spChg chg="mod">
          <ac:chgData name="Pierugo Pace" userId="2226acec-25d1-48aa-b467-65eac8578bef" providerId="ADAL" clId="{C473F347-30E6-4F99-BD43-7C0AE76DCA8B}" dt="2024-07-05T13:26:29.441" v="4892"/>
          <ac:spMkLst>
            <pc:docMk/>
            <pc:sldMk cId="3806905397" sldId="3258"/>
            <ac:spMk id="121" creationId="{34DFB738-E453-CA1B-0137-3CE1539DB5CD}"/>
          </ac:spMkLst>
        </pc:spChg>
        <pc:spChg chg="mod">
          <ac:chgData name="Pierugo Pace" userId="2226acec-25d1-48aa-b467-65eac8578bef" providerId="ADAL" clId="{C473F347-30E6-4F99-BD43-7C0AE76DCA8B}" dt="2024-07-05T13:26:29.441" v="4892"/>
          <ac:spMkLst>
            <pc:docMk/>
            <pc:sldMk cId="3806905397" sldId="3258"/>
            <ac:spMk id="123" creationId="{3D81DFEE-47CF-2B96-EACD-67835C3EDC19}"/>
          </ac:spMkLst>
        </pc:spChg>
        <pc:spChg chg="mod">
          <ac:chgData name="Pierugo Pace" userId="2226acec-25d1-48aa-b467-65eac8578bef" providerId="ADAL" clId="{C473F347-30E6-4F99-BD43-7C0AE76DCA8B}" dt="2024-07-05T13:26:29.441" v="4892"/>
          <ac:spMkLst>
            <pc:docMk/>
            <pc:sldMk cId="3806905397" sldId="3258"/>
            <ac:spMk id="124" creationId="{FB31D842-4A6F-780B-2169-1226041CFEC1}"/>
          </ac:spMkLst>
        </pc:spChg>
        <pc:spChg chg="mod">
          <ac:chgData name="Pierugo Pace" userId="2226acec-25d1-48aa-b467-65eac8578bef" providerId="ADAL" clId="{C473F347-30E6-4F99-BD43-7C0AE76DCA8B}" dt="2024-07-05T13:26:29.441" v="4892"/>
          <ac:spMkLst>
            <pc:docMk/>
            <pc:sldMk cId="3806905397" sldId="3258"/>
            <ac:spMk id="126" creationId="{6664DE06-2EA5-BBFA-7982-3E083479AFD3}"/>
          </ac:spMkLst>
        </pc:spChg>
        <pc:spChg chg="mod">
          <ac:chgData name="Pierugo Pace" userId="2226acec-25d1-48aa-b467-65eac8578bef" providerId="ADAL" clId="{C473F347-30E6-4F99-BD43-7C0AE76DCA8B}" dt="2024-07-05T13:26:29.441" v="4892"/>
          <ac:spMkLst>
            <pc:docMk/>
            <pc:sldMk cId="3806905397" sldId="3258"/>
            <ac:spMk id="127" creationId="{5E403BC7-4372-EC72-4F68-FA95146A927E}"/>
          </ac:spMkLst>
        </pc:spChg>
        <pc:spChg chg="mod">
          <ac:chgData name="Pierugo Pace" userId="2226acec-25d1-48aa-b467-65eac8578bef" providerId="ADAL" clId="{C473F347-30E6-4F99-BD43-7C0AE76DCA8B}" dt="2024-07-05T13:26:29.441" v="4892"/>
          <ac:spMkLst>
            <pc:docMk/>
            <pc:sldMk cId="3806905397" sldId="3258"/>
            <ac:spMk id="129" creationId="{345FA4C0-BB2A-6E6D-1BE8-47E2A01F59BA}"/>
          </ac:spMkLst>
        </pc:spChg>
        <pc:spChg chg="mod">
          <ac:chgData name="Pierugo Pace" userId="2226acec-25d1-48aa-b467-65eac8578bef" providerId="ADAL" clId="{C473F347-30E6-4F99-BD43-7C0AE76DCA8B}" dt="2024-07-05T13:26:29.441" v="4892"/>
          <ac:spMkLst>
            <pc:docMk/>
            <pc:sldMk cId="3806905397" sldId="3258"/>
            <ac:spMk id="130" creationId="{6B3CD801-E5AA-5849-284B-846CC6619781}"/>
          </ac:spMkLst>
        </pc:spChg>
        <pc:spChg chg="mod">
          <ac:chgData name="Pierugo Pace" userId="2226acec-25d1-48aa-b467-65eac8578bef" providerId="ADAL" clId="{C473F347-30E6-4F99-BD43-7C0AE76DCA8B}" dt="2024-07-05T13:26:29.441" v="4892"/>
          <ac:spMkLst>
            <pc:docMk/>
            <pc:sldMk cId="3806905397" sldId="3258"/>
            <ac:spMk id="131" creationId="{AB9087F4-A420-2C67-3FFE-4E1DC668C5CA}"/>
          </ac:spMkLst>
        </pc:spChg>
        <pc:spChg chg="mod">
          <ac:chgData name="Pierugo Pace" userId="2226acec-25d1-48aa-b467-65eac8578bef" providerId="ADAL" clId="{C473F347-30E6-4F99-BD43-7C0AE76DCA8B}" dt="2024-07-05T13:26:29.441" v="4892"/>
          <ac:spMkLst>
            <pc:docMk/>
            <pc:sldMk cId="3806905397" sldId="3258"/>
            <ac:spMk id="132" creationId="{EBB4582E-1979-12A4-A5F5-9A40B5AD6ACD}"/>
          </ac:spMkLst>
        </pc:spChg>
        <pc:spChg chg="mod">
          <ac:chgData name="Pierugo Pace" userId="2226acec-25d1-48aa-b467-65eac8578bef" providerId="ADAL" clId="{C473F347-30E6-4F99-BD43-7C0AE76DCA8B}" dt="2024-07-05T13:26:29.441" v="4892"/>
          <ac:spMkLst>
            <pc:docMk/>
            <pc:sldMk cId="3806905397" sldId="3258"/>
            <ac:spMk id="133" creationId="{95413D22-2FF8-F19B-0B92-484BB700C476}"/>
          </ac:spMkLst>
        </pc:spChg>
        <pc:spChg chg="mod">
          <ac:chgData name="Pierugo Pace" userId="2226acec-25d1-48aa-b467-65eac8578bef" providerId="ADAL" clId="{C473F347-30E6-4F99-BD43-7C0AE76DCA8B}" dt="2024-07-05T13:26:29.441" v="4892"/>
          <ac:spMkLst>
            <pc:docMk/>
            <pc:sldMk cId="3806905397" sldId="3258"/>
            <ac:spMk id="134" creationId="{52466384-7248-56FE-F24F-86690B7CD26F}"/>
          </ac:spMkLst>
        </pc:spChg>
        <pc:spChg chg="mod">
          <ac:chgData name="Pierugo Pace" userId="2226acec-25d1-48aa-b467-65eac8578bef" providerId="ADAL" clId="{C473F347-30E6-4F99-BD43-7C0AE76DCA8B}" dt="2024-07-05T13:37:39.662" v="4904" actId="20577"/>
          <ac:spMkLst>
            <pc:docMk/>
            <pc:sldMk cId="3806905397" sldId="3258"/>
            <ac:spMk id="136" creationId="{0607F003-4CEC-D92F-7901-5C8480D91AE6}"/>
          </ac:spMkLst>
        </pc:spChg>
        <pc:spChg chg="mod">
          <ac:chgData name="Pierugo Pace" userId="2226acec-25d1-48aa-b467-65eac8578bef" providerId="ADAL" clId="{C473F347-30E6-4F99-BD43-7C0AE76DCA8B}" dt="2024-07-05T13:37:39.662" v="4904" actId="20577"/>
          <ac:spMkLst>
            <pc:docMk/>
            <pc:sldMk cId="3806905397" sldId="3258"/>
            <ac:spMk id="137" creationId="{617A62FE-69FA-6791-4B8F-ADF4446A2C2C}"/>
          </ac:spMkLst>
        </pc:spChg>
        <pc:spChg chg="mod">
          <ac:chgData name="Pierugo Pace" userId="2226acec-25d1-48aa-b467-65eac8578bef" providerId="ADAL" clId="{C473F347-30E6-4F99-BD43-7C0AE76DCA8B}" dt="2024-07-05T13:37:39.662" v="4904" actId="20577"/>
          <ac:spMkLst>
            <pc:docMk/>
            <pc:sldMk cId="3806905397" sldId="3258"/>
            <ac:spMk id="138" creationId="{E6A1E1D3-9644-0040-B05B-DB3A0FCC769D}"/>
          </ac:spMkLst>
        </pc:spChg>
        <pc:spChg chg="mod">
          <ac:chgData name="Pierugo Pace" userId="2226acec-25d1-48aa-b467-65eac8578bef" providerId="ADAL" clId="{C473F347-30E6-4F99-BD43-7C0AE76DCA8B}" dt="2024-07-05T13:37:39.662" v="4904" actId="20577"/>
          <ac:spMkLst>
            <pc:docMk/>
            <pc:sldMk cId="3806905397" sldId="3258"/>
            <ac:spMk id="140" creationId="{2D8014F6-04F4-C4A6-FF04-FEFFD2092367}"/>
          </ac:spMkLst>
        </pc:spChg>
        <pc:spChg chg="mod">
          <ac:chgData name="Pierugo Pace" userId="2226acec-25d1-48aa-b467-65eac8578bef" providerId="ADAL" clId="{C473F347-30E6-4F99-BD43-7C0AE76DCA8B}" dt="2024-07-05T13:37:39.662" v="4904" actId="20577"/>
          <ac:spMkLst>
            <pc:docMk/>
            <pc:sldMk cId="3806905397" sldId="3258"/>
            <ac:spMk id="142" creationId="{FC7C636D-60F3-8591-1264-7F8F46B11017}"/>
          </ac:spMkLst>
        </pc:spChg>
        <pc:spChg chg="mod">
          <ac:chgData name="Pierugo Pace" userId="2226acec-25d1-48aa-b467-65eac8578bef" providerId="ADAL" clId="{C473F347-30E6-4F99-BD43-7C0AE76DCA8B}" dt="2024-07-05T13:37:39.662" v="4904" actId="20577"/>
          <ac:spMkLst>
            <pc:docMk/>
            <pc:sldMk cId="3806905397" sldId="3258"/>
            <ac:spMk id="145" creationId="{46326BDC-55D3-C3C4-DFB3-6906CFE107A3}"/>
          </ac:spMkLst>
        </pc:spChg>
        <pc:spChg chg="mod">
          <ac:chgData name="Pierugo Pace" userId="2226acec-25d1-48aa-b467-65eac8578bef" providerId="ADAL" clId="{C473F347-30E6-4F99-BD43-7C0AE76DCA8B}" dt="2024-07-05T13:37:39.662" v="4904" actId="20577"/>
          <ac:spMkLst>
            <pc:docMk/>
            <pc:sldMk cId="3806905397" sldId="3258"/>
            <ac:spMk id="147" creationId="{D8A4E1A8-80C0-766A-8660-BE67FAD6D5CA}"/>
          </ac:spMkLst>
        </pc:spChg>
        <pc:spChg chg="mod">
          <ac:chgData name="Pierugo Pace" userId="2226acec-25d1-48aa-b467-65eac8578bef" providerId="ADAL" clId="{C473F347-30E6-4F99-BD43-7C0AE76DCA8B}" dt="2024-07-05T13:37:39.662" v="4904" actId="20577"/>
          <ac:spMkLst>
            <pc:docMk/>
            <pc:sldMk cId="3806905397" sldId="3258"/>
            <ac:spMk id="148" creationId="{21913501-E11A-8B6E-B0E3-940C3639D482}"/>
          </ac:spMkLst>
        </pc:spChg>
        <pc:spChg chg="mod">
          <ac:chgData name="Pierugo Pace" userId="2226acec-25d1-48aa-b467-65eac8578bef" providerId="ADAL" clId="{C473F347-30E6-4F99-BD43-7C0AE76DCA8B}" dt="2024-07-05T13:37:39.662" v="4904" actId="20577"/>
          <ac:spMkLst>
            <pc:docMk/>
            <pc:sldMk cId="3806905397" sldId="3258"/>
            <ac:spMk id="150" creationId="{C79079A2-B0FA-7010-16B9-F8440360817E}"/>
          </ac:spMkLst>
        </pc:spChg>
        <pc:spChg chg="mod">
          <ac:chgData name="Pierugo Pace" userId="2226acec-25d1-48aa-b467-65eac8578bef" providerId="ADAL" clId="{C473F347-30E6-4F99-BD43-7C0AE76DCA8B}" dt="2024-07-05T13:37:39.662" v="4904" actId="20577"/>
          <ac:spMkLst>
            <pc:docMk/>
            <pc:sldMk cId="3806905397" sldId="3258"/>
            <ac:spMk id="151" creationId="{7C3F6B95-07FE-A4FA-A377-9AA0675CA3F3}"/>
          </ac:spMkLst>
        </pc:spChg>
        <pc:spChg chg="mod">
          <ac:chgData name="Pierugo Pace" userId="2226acec-25d1-48aa-b467-65eac8578bef" providerId="ADAL" clId="{C473F347-30E6-4F99-BD43-7C0AE76DCA8B}" dt="2024-07-05T13:37:39.662" v="4904" actId="20577"/>
          <ac:spMkLst>
            <pc:docMk/>
            <pc:sldMk cId="3806905397" sldId="3258"/>
            <ac:spMk id="153" creationId="{F4C8C64E-2186-9F49-2175-51405779F138}"/>
          </ac:spMkLst>
        </pc:spChg>
        <pc:spChg chg="mod">
          <ac:chgData name="Pierugo Pace" userId="2226acec-25d1-48aa-b467-65eac8578bef" providerId="ADAL" clId="{C473F347-30E6-4F99-BD43-7C0AE76DCA8B}" dt="2024-07-05T13:37:39.662" v="4904" actId="20577"/>
          <ac:spMkLst>
            <pc:docMk/>
            <pc:sldMk cId="3806905397" sldId="3258"/>
            <ac:spMk id="154" creationId="{34DCBDCD-0585-FA30-E9A4-C3409C13D065}"/>
          </ac:spMkLst>
        </pc:spChg>
        <pc:spChg chg="mod">
          <ac:chgData name="Pierugo Pace" userId="2226acec-25d1-48aa-b467-65eac8578bef" providerId="ADAL" clId="{C473F347-30E6-4F99-BD43-7C0AE76DCA8B}" dt="2024-07-05T13:37:39.662" v="4904" actId="20577"/>
          <ac:spMkLst>
            <pc:docMk/>
            <pc:sldMk cId="3806905397" sldId="3258"/>
            <ac:spMk id="155" creationId="{CD160710-34F9-388C-B121-576E9E6E42A1}"/>
          </ac:spMkLst>
        </pc:spChg>
        <pc:spChg chg="mod">
          <ac:chgData name="Pierugo Pace" userId="2226acec-25d1-48aa-b467-65eac8578bef" providerId="ADAL" clId="{C473F347-30E6-4F99-BD43-7C0AE76DCA8B}" dt="2024-07-05T13:37:39.662" v="4904" actId="20577"/>
          <ac:spMkLst>
            <pc:docMk/>
            <pc:sldMk cId="3806905397" sldId="3258"/>
            <ac:spMk id="156" creationId="{887DFCDB-89A5-FE92-38B1-84E88FCF4A4C}"/>
          </ac:spMkLst>
        </pc:spChg>
        <pc:spChg chg="mod">
          <ac:chgData name="Pierugo Pace" userId="2226acec-25d1-48aa-b467-65eac8578bef" providerId="ADAL" clId="{C473F347-30E6-4F99-BD43-7C0AE76DCA8B}" dt="2024-07-05T13:37:39.662" v="4904" actId="20577"/>
          <ac:spMkLst>
            <pc:docMk/>
            <pc:sldMk cId="3806905397" sldId="3258"/>
            <ac:spMk id="157" creationId="{28BA258E-7530-B5C0-4F2C-39610B501012}"/>
          </ac:spMkLst>
        </pc:spChg>
        <pc:spChg chg="mod">
          <ac:chgData name="Pierugo Pace" userId="2226acec-25d1-48aa-b467-65eac8578bef" providerId="ADAL" clId="{C473F347-30E6-4F99-BD43-7C0AE76DCA8B}" dt="2024-07-05T13:37:45.492" v="4905" actId="1076"/>
          <ac:spMkLst>
            <pc:docMk/>
            <pc:sldMk cId="3806905397" sldId="3258"/>
            <ac:spMk id="158" creationId="{34CEAAE8-C932-E060-4758-0E92E9A9F755}"/>
          </ac:spMkLst>
        </pc:spChg>
        <pc:grpChg chg="add del mod">
          <ac:chgData name="Pierugo Pace" userId="2226acec-25d1-48aa-b467-65eac8578bef" providerId="ADAL" clId="{C473F347-30E6-4F99-BD43-7C0AE76DCA8B}" dt="2024-07-05T12:53:26.817" v="4510" actId="165"/>
          <ac:grpSpMkLst>
            <pc:docMk/>
            <pc:sldMk cId="3806905397" sldId="3258"/>
            <ac:grpSpMk id="9" creationId="{1C1A1CFE-2118-54AE-9E05-71617D29EAE6}"/>
          </ac:grpSpMkLst>
        </pc:grpChg>
        <pc:grpChg chg="add del mod">
          <ac:chgData name="Pierugo Pace" userId="2226acec-25d1-48aa-b467-65eac8578bef" providerId="ADAL" clId="{C473F347-30E6-4F99-BD43-7C0AE76DCA8B}" dt="2024-07-05T12:52:45.379" v="4505" actId="165"/>
          <ac:grpSpMkLst>
            <pc:docMk/>
            <pc:sldMk cId="3806905397" sldId="3258"/>
            <ac:grpSpMk id="16" creationId="{95989761-9142-21C3-3380-50E3E561F60F}"/>
          </ac:grpSpMkLst>
        </pc:grpChg>
        <pc:grpChg chg="add del mod">
          <ac:chgData name="Pierugo Pace" userId="2226acec-25d1-48aa-b467-65eac8578bef" providerId="ADAL" clId="{C473F347-30E6-4F99-BD43-7C0AE76DCA8B}" dt="2024-07-05T13:10:52.124" v="4682" actId="165"/>
          <ac:grpSpMkLst>
            <pc:docMk/>
            <pc:sldMk cId="3806905397" sldId="3258"/>
            <ac:grpSpMk id="44" creationId="{F5FD6ED0-EE28-A1B6-4497-5CAF40F22599}"/>
          </ac:grpSpMkLst>
        </pc:grpChg>
        <pc:grpChg chg="add mod">
          <ac:chgData name="Pierugo Pace" userId="2226acec-25d1-48aa-b467-65eac8578bef" providerId="ADAL" clId="{C473F347-30E6-4F99-BD43-7C0AE76DCA8B}" dt="2024-07-05T13:09:35.845" v="4672"/>
          <ac:grpSpMkLst>
            <pc:docMk/>
            <pc:sldMk cId="3806905397" sldId="3258"/>
            <ac:grpSpMk id="46" creationId="{AD3CF845-0044-3184-06D6-4DA51DF40416}"/>
          </ac:grpSpMkLst>
        </pc:grpChg>
        <pc:grpChg chg="add del mod">
          <ac:chgData name="Pierugo Pace" userId="2226acec-25d1-48aa-b467-65eac8578bef" providerId="ADAL" clId="{C473F347-30E6-4F99-BD43-7C0AE76DCA8B}" dt="2024-07-05T13:12:00.711" v="4703" actId="165"/>
          <ac:grpSpMkLst>
            <pc:docMk/>
            <pc:sldMk cId="3806905397" sldId="3258"/>
            <ac:grpSpMk id="70" creationId="{C5FA06C5-E8BE-E4BF-0C90-6ABE2E602396}"/>
          </ac:grpSpMkLst>
        </pc:grpChg>
        <pc:grpChg chg="add del mod">
          <ac:chgData name="Pierugo Pace" userId="2226acec-25d1-48aa-b467-65eac8578bef" providerId="ADAL" clId="{C473F347-30E6-4F99-BD43-7C0AE76DCA8B}" dt="2024-07-05T13:12:04.970" v="4704" actId="165"/>
          <ac:grpSpMkLst>
            <pc:docMk/>
            <pc:sldMk cId="3806905397" sldId="3258"/>
            <ac:grpSpMk id="96" creationId="{6FDD458D-DE01-2381-70BB-E933BFD1B687}"/>
          </ac:grpSpMkLst>
        </pc:grpChg>
        <pc:grpChg chg="add del mod">
          <ac:chgData name="Pierugo Pace" userId="2226acec-25d1-48aa-b467-65eac8578bef" providerId="ADAL" clId="{C473F347-30E6-4F99-BD43-7C0AE76DCA8B}" dt="2024-07-05T13:13:34.359" v="4709" actId="165"/>
          <ac:grpSpMkLst>
            <pc:docMk/>
            <pc:sldMk cId="3806905397" sldId="3258"/>
            <ac:grpSpMk id="98" creationId="{31C82368-7906-F584-3F7F-F8E77CE1A489}"/>
          </ac:grpSpMkLst>
        </pc:grpChg>
        <pc:grpChg chg="add del mod">
          <ac:chgData name="Pierugo Pace" userId="2226acec-25d1-48aa-b467-65eac8578bef" providerId="ADAL" clId="{C473F347-30E6-4F99-BD43-7C0AE76DCA8B}" dt="2024-07-05T13:14:43.463" v="4716" actId="165"/>
          <ac:grpSpMkLst>
            <pc:docMk/>
            <pc:sldMk cId="3806905397" sldId="3258"/>
            <ac:grpSpMk id="99" creationId="{8CBD0CF3-E2FF-A629-88B3-78968D27E0AD}"/>
          </ac:grpSpMkLst>
        </pc:grpChg>
        <pc:grpChg chg="add del mod">
          <ac:chgData name="Pierugo Pace" userId="2226acec-25d1-48aa-b467-65eac8578bef" providerId="ADAL" clId="{C473F347-30E6-4F99-BD43-7C0AE76DCA8B}" dt="2024-07-05T13:21:46.559" v="4790" actId="165"/>
          <ac:grpSpMkLst>
            <pc:docMk/>
            <pc:sldMk cId="3806905397" sldId="3258"/>
            <ac:grpSpMk id="100" creationId="{BBC8DC24-CBA2-75CA-7A3B-5A8128D2C7C1}"/>
          </ac:grpSpMkLst>
        </pc:grpChg>
        <pc:grpChg chg="add mod topLvl">
          <ac:chgData name="Pierugo Pace" userId="2226acec-25d1-48aa-b467-65eac8578bef" providerId="ADAL" clId="{C473F347-30E6-4F99-BD43-7C0AE76DCA8B}" dt="2024-07-08T08:19:27.862" v="6430" actId="20577"/>
          <ac:grpSpMkLst>
            <pc:docMk/>
            <pc:sldMk cId="3806905397" sldId="3258"/>
            <ac:grpSpMk id="104" creationId="{6F9DA5A2-C9F3-64DC-3BE8-B5485B65FCD4}"/>
          </ac:grpSpMkLst>
        </pc:grpChg>
        <pc:grpChg chg="add mod topLvl">
          <ac:chgData name="Pierugo Pace" userId="2226acec-25d1-48aa-b467-65eac8578bef" providerId="ADAL" clId="{C473F347-30E6-4F99-BD43-7C0AE76DCA8B}" dt="2024-07-10T12:10:45.159" v="7436" actId="20577"/>
          <ac:grpSpMkLst>
            <pc:docMk/>
            <pc:sldMk cId="3806905397" sldId="3258"/>
            <ac:grpSpMk id="105" creationId="{E32024C2-22CC-AFC6-58C0-56BF51DC608D}"/>
          </ac:grpSpMkLst>
        </pc:grpChg>
        <pc:grpChg chg="add mod">
          <ac:chgData name="Pierugo Pace" userId="2226acec-25d1-48aa-b467-65eac8578bef" providerId="ADAL" clId="{C473F347-30E6-4F99-BD43-7C0AE76DCA8B}" dt="2024-07-05T13:26:29.441" v="4892"/>
          <ac:grpSpMkLst>
            <pc:docMk/>
            <pc:sldMk cId="3806905397" sldId="3258"/>
            <ac:grpSpMk id="111" creationId="{19F5D74D-69AC-45F9-0FC7-A197765710D1}"/>
          </ac:grpSpMkLst>
        </pc:grpChg>
        <pc:grpChg chg="add del mod">
          <ac:chgData name="Pierugo Pace" userId="2226acec-25d1-48aa-b467-65eac8578bef" providerId="ADAL" clId="{C473F347-30E6-4F99-BD43-7C0AE76DCA8B}" dt="2024-07-05T13:58:27.648" v="4906" actId="478"/>
          <ac:grpSpMkLst>
            <pc:docMk/>
            <pc:sldMk cId="3806905397" sldId="3258"/>
            <ac:grpSpMk id="135" creationId="{7428E2F5-ED35-7D0E-EB6B-C60F3385A691}"/>
          </ac:grpSpMkLst>
        </pc:grpChg>
        <pc:grpChg chg="add del mod">
          <ac:chgData name="Pierugo Pace" userId="2226acec-25d1-48aa-b467-65eac8578bef" providerId="ADAL" clId="{C473F347-30E6-4F99-BD43-7C0AE76DCA8B}" dt="2024-07-05T13:28:11.252" v="4899" actId="165"/>
          <ac:grpSpMkLst>
            <pc:docMk/>
            <pc:sldMk cId="3806905397" sldId="3258"/>
            <ac:grpSpMk id="159" creationId="{4CD2D870-A771-C6D9-10AE-1288116D5659}"/>
          </ac:grpSpMkLst>
        </pc:grpChg>
        <pc:cxnChg chg="add mod topLvl">
          <ac:chgData name="Pierugo Pace" userId="2226acec-25d1-48aa-b467-65eac8578bef" providerId="ADAL" clId="{C473F347-30E6-4F99-BD43-7C0AE76DCA8B}" dt="2024-07-08T08:19:27.862" v="6430" actId="20577"/>
          <ac:cxnSpMkLst>
            <pc:docMk/>
            <pc:sldMk cId="3806905397" sldId="3258"/>
            <ac:cxnSpMk id="12" creationId="{0D8E8D01-5B70-E107-7CDE-D3E9EFB1CE7C}"/>
          </ac:cxnSpMkLst>
        </pc:cxnChg>
        <pc:cxnChg chg="add mod topLvl">
          <ac:chgData name="Pierugo Pace" userId="2226acec-25d1-48aa-b467-65eac8578bef" providerId="ADAL" clId="{C473F347-30E6-4F99-BD43-7C0AE76DCA8B}" dt="2024-07-08T08:19:27.862" v="6430" actId="20577"/>
          <ac:cxnSpMkLst>
            <pc:docMk/>
            <pc:sldMk cId="3806905397" sldId="3258"/>
            <ac:cxnSpMk id="21" creationId="{81F0796B-6124-575C-A049-C66EC2F76AF9}"/>
          </ac:cxnSpMkLst>
        </pc:cxnChg>
        <pc:cxnChg chg="add mod topLvl">
          <ac:chgData name="Pierugo Pace" userId="2226acec-25d1-48aa-b467-65eac8578bef" providerId="ADAL" clId="{C473F347-30E6-4F99-BD43-7C0AE76DCA8B}" dt="2024-07-08T08:19:27.862" v="6430" actId="20577"/>
          <ac:cxnSpMkLst>
            <pc:docMk/>
            <pc:sldMk cId="3806905397" sldId="3258"/>
            <ac:cxnSpMk id="24" creationId="{03B25158-D3DC-05B9-7C4A-5801AC2860CA}"/>
          </ac:cxnSpMkLst>
        </pc:cxnChg>
        <pc:cxnChg chg="add mod topLvl">
          <ac:chgData name="Pierugo Pace" userId="2226acec-25d1-48aa-b467-65eac8578bef" providerId="ADAL" clId="{C473F347-30E6-4F99-BD43-7C0AE76DCA8B}" dt="2024-07-08T08:19:27.862" v="6430" actId="20577"/>
          <ac:cxnSpMkLst>
            <pc:docMk/>
            <pc:sldMk cId="3806905397" sldId="3258"/>
            <ac:cxnSpMk id="25" creationId="{7F90947C-F272-B557-794F-DA861ED12964}"/>
          </ac:cxnSpMkLst>
        </pc:cxnChg>
        <pc:cxnChg chg="add mod topLvl">
          <ac:chgData name="Pierugo Pace" userId="2226acec-25d1-48aa-b467-65eac8578bef" providerId="ADAL" clId="{C473F347-30E6-4F99-BD43-7C0AE76DCA8B}" dt="2024-07-08T08:19:27.862" v="6430" actId="20577"/>
          <ac:cxnSpMkLst>
            <pc:docMk/>
            <pc:sldMk cId="3806905397" sldId="3258"/>
            <ac:cxnSpMk id="27" creationId="{A8BF70B4-BCB8-381A-E4D5-8DC39A6DF58D}"/>
          </ac:cxnSpMkLst>
        </pc:cxnChg>
        <pc:cxnChg chg="add mod topLvl">
          <ac:chgData name="Pierugo Pace" userId="2226acec-25d1-48aa-b467-65eac8578bef" providerId="ADAL" clId="{C473F347-30E6-4F99-BD43-7C0AE76DCA8B}" dt="2024-07-08T08:19:27.862" v="6430" actId="20577"/>
          <ac:cxnSpMkLst>
            <pc:docMk/>
            <pc:sldMk cId="3806905397" sldId="3258"/>
            <ac:cxnSpMk id="31" creationId="{30CACF6F-3921-BF6C-51AE-DEB9FAF09B1A}"/>
          </ac:cxnSpMkLst>
        </pc:cxnChg>
        <pc:cxnChg chg="add mod">
          <ac:chgData name="Pierugo Pace" userId="2226acec-25d1-48aa-b467-65eac8578bef" providerId="ADAL" clId="{C473F347-30E6-4F99-BD43-7C0AE76DCA8B}" dt="2024-07-05T13:04:52.365" v="4649" actId="1076"/>
          <ac:cxnSpMkLst>
            <pc:docMk/>
            <pc:sldMk cId="3806905397" sldId="3258"/>
            <ac:cxnSpMk id="37" creationId="{098B6D57-8036-BCBD-7A13-A56EC1C7B282}"/>
          </ac:cxnSpMkLst>
        </pc:cxnChg>
        <pc:cxnChg chg="add mod topLvl">
          <ac:chgData name="Pierugo Pace" userId="2226acec-25d1-48aa-b467-65eac8578bef" providerId="ADAL" clId="{C473F347-30E6-4F99-BD43-7C0AE76DCA8B}" dt="2024-07-08T08:19:27.862" v="6430" actId="20577"/>
          <ac:cxnSpMkLst>
            <pc:docMk/>
            <pc:sldMk cId="3806905397" sldId="3258"/>
            <ac:cxnSpMk id="40" creationId="{71A14AB1-3567-44C0-1C55-D16E66B52671}"/>
          </ac:cxnSpMkLst>
        </pc:cxnChg>
        <pc:cxnChg chg="mod">
          <ac:chgData name="Pierugo Pace" userId="2226acec-25d1-48aa-b467-65eac8578bef" providerId="ADAL" clId="{C473F347-30E6-4F99-BD43-7C0AE76DCA8B}" dt="2024-07-05T13:09:35.845" v="4672"/>
          <ac:cxnSpMkLst>
            <pc:docMk/>
            <pc:sldMk cId="3806905397" sldId="3258"/>
            <ac:cxnSpMk id="51" creationId="{A5C62A68-5B30-9C77-0CDF-5AF1B6DE4CBF}"/>
          </ac:cxnSpMkLst>
        </pc:cxnChg>
        <pc:cxnChg chg="mod">
          <ac:chgData name="Pierugo Pace" userId="2226acec-25d1-48aa-b467-65eac8578bef" providerId="ADAL" clId="{C473F347-30E6-4F99-BD43-7C0AE76DCA8B}" dt="2024-07-05T13:09:35.845" v="4672"/>
          <ac:cxnSpMkLst>
            <pc:docMk/>
            <pc:sldMk cId="3806905397" sldId="3258"/>
            <ac:cxnSpMk id="54" creationId="{FA99EA60-E9E0-9ED1-49FD-9916CDAA07E6}"/>
          </ac:cxnSpMkLst>
        </pc:cxnChg>
        <pc:cxnChg chg="mod">
          <ac:chgData name="Pierugo Pace" userId="2226acec-25d1-48aa-b467-65eac8578bef" providerId="ADAL" clId="{C473F347-30E6-4F99-BD43-7C0AE76DCA8B}" dt="2024-07-05T13:09:35.845" v="4672"/>
          <ac:cxnSpMkLst>
            <pc:docMk/>
            <pc:sldMk cId="3806905397" sldId="3258"/>
            <ac:cxnSpMk id="57" creationId="{DE6A165C-0DD1-6C81-9953-748C4E89F6B4}"/>
          </ac:cxnSpMkLst>
        </pc:cxnChg>
        <pc:cxnChg chg="mod">
          <ac:chgData name="Pierugo Pace" userId="2226acec-25d1-48aa-b467-65eac8578bef" providerId="ADAL" clId="{C473F347-30E6-4F99-BD43-7C0AE76DCA8B}" dt="2024-07-05T13:09:35.845" v="4672"/>
          <ac:cxnSpMkLst>
            <pc:docMk/>
            <pc:sldMk cId="3806905397" sldId="3258"/>
            <ac:cxnSpMk id="58" creationId="{951B046B-FEDD-D7BE-E883-11889A807C28}"/>
          </ac:cxnSpMkLst>
        </pc:cxnChg>
        <pc:cxnChg chg="mod">
          <ac:chgData name="Pierugo Pace" userId="2226acec-25d1-48aa-b467-65eac8578bef" providerId="ADAL" clId="{C473F347-30E6-4F99-BD43-7C0AE76DCA8B}" dt="2024-07-05T13:09:35.845" v="4672"/>
          <ac:cxnSpMkLst>
            <pc:docMk/>
            <pc:sldMk cId="3806905397" sldId="3258"/>
            <ac:cxnSpMk id="60" creationId="{413B4CA8-7B86-E830-1A35-61D176E59860}"/>
          </ac:cxnSpMkLst>
        </pc:cxnChg>
        <pc:cxnChg chg="mod">
          <ac:chgData name="Pierugo Pace" userId="2226acec-25d1-48aa-b467-65eac8578bef" providerId="ADAL" clId="{C473F347-30E6-4F99-BD43-7C0AE76DCA8B}" dt="2024-07-05T13:09:35.845" v="4672"/>
          <ac:cxnSpMkLst>
            <pc:docMk/>
            <pc:sldMk cId="3806905397" sldId="3258"/>
            <ac:cxnSpMk id="63" creationId="{3F6AF0DA-66AF-73CE-445A-3D5CC984FDC0}"/>
          </ac:cxnSpMkLst>
        </pc:cxnChg>
        <pc:cxnChg chg="mod">
          <ac:chgData name="Pierugo Pace" userId="2226acec-25d1-48aa-b467-65eac8578bef" providerId="ADAL" clId="{C473F347-30E6-4F99-BD43-7C0AE76DCA8B}" dt="2024-07-05T13:09:35.845" v="4672"/>
          <ac:cxnSpMkLst>
            <pc:docMk/>
            <pc:sldMk cId="3806905397" sldId="3258"/>
            <ac:cxnSpMk id="67" creationId="{5C2C56D2-1DAD-74C2-C5F6-83885412562C}"/>
          </ac:cxnSpMkLst>
        </pc:cxnChg>
        <pc:cxnChg chg="mod topLvl">
          <ac:chgData name="Pierugo Pace" userId="2226acec-25d1-48aa-b467-65eac8578bef" providerId="ADAL" clId="{C473F347-30E6-4F99-BD43-7C0AE76DCA8B}" dt="2024-07-10T12:10:45.159" v="7436" actId="20577"/>
          <ac:cxnSpMkLst>
            <pc:docMk/>
            <pc:sldMk cId="3806905397" sldId="3258"/>
            <ac:cxnSpMk id="75" creationId="{8AD23612-B124-29CF-1907-CBCD7AEE71FC}"/>
          </ac:cxnSpMkLst>
        </pc:cxnChg>
        <pc:cxnChg chg="mod topLvl">
          <ac:chgData name="Pierugo Pace" userId="2226acec-25d1-48aa-b467-65eac8578bef" providerId="ADAL" clId="{C473F347-30E6-4F99-BD43-7C0AE76DCA8B}" dt="2024-07-10T12:10:45.159" v="7436" actId="20577"/>
          <ac:cxnSpMkLst>
            <pc:docMk/>
            <pc:sldMk cId="3806905397" sldId="3258"/>
            <ac:cxnSpMk id="78" creationId="{284C9F2D-F5F2-AEB8-EC42-B360C9C92C18}"/>
          </ac:cxnSpMkLst>
        </pc:cxnChg>
        <pc:cxnChg chg="mod topLvl">
          <ac:chgData name="Pierugo Pace" userId="2226acec-25d1-48aa-b467-65eac8578bef" providerId="ADAL" clId="{C473F347-30E6-4F99-BD43-7C0AE76DCA8B}" dt="2024-07-10T12:10:45.159" v="7436" actId="20577"/>
          <ac:cxnSpMkLst>
            <pc:docMk/>
            <pc:sldMk cId="3806905397" sldId="3258"/>
            <ac:cxnSpMk id="81" creationId="{6F203290-6889-B592-C174-2C2024B96EB8}"/>
          </ac:cxnSpMkLst>
        </pc:cxnChg>
        <pc:cxnChg chg="mod topLvl">
          <ac:chgData name="Pierugo Pace" userId="2226acec-25d1-48aa-b467-65eac8578bef" providerId="ADAL" clId="{C473F347-30E6-4F99-BD43-7C0AE76DCA8B}" dt="2024-07-10T12:10:45.159" v="7436" actId="20577"/>
          <ac:cxnSpMkLst>
            <pc:docMk/>
            <pc:sldMk cId="3806905397" sldId="3258"/>
            <ac:cxnSpMk id="82" creationId="{3D9BB5E4-95FA-CE60-F4CC-C5CE2270BC85}"/>
          </ac:cxnSpMkLst>
        </pc:cxnChg>
        <pc:cxnChg chg="mod topLvl">
          <ac:chgData name="Pierugo Pace" userId="2226acec-25d1-48aa-b467-65eac8578bef" providerId="ADAL" clId="{C473F347-30E6-4F99-BD43-7C0AE76DCA8B}" dt="2024-07-10T12:10:45.159" v="7436" actId="20577"/>
          <ac:cxnSpMkLst>
            <pc:docMk/>
            <pc:sldMk cId="3806905397" sldId="3258"/>
            <ac:cxnSpMk id="84" creationId="{F2A0F983-4225-2642-FA5F-7B0462008E3B}"/>
          </ac:cxnSpMkLst>
        </pc:cxnChg>
        <pc:cxnChg chg="mod topLvl">
          <ac:chgData name="Pierugo Pace" userId="2226acec-25d1-48aa-b467-65eac8578bef" providerId="ADAL" clId="{C473F347-30E6-4F99-BD43-7C0AE76DCA8B}" dt="2024-07-10T12:10:45.159" v="7436" actId="20577"/>
          <ac:cxnSpMkLst>
            <pc:docMk/>
            <pc:sldMk cId="3806905397" sldId="3258"/>
            <ac:cxnSpMk id="87" creationId="{7EC775DA-2069-CB79-ED2E-BDB99FB8E2BD}"/>
          </ac:cxnSpMkLst>
        </pc:cxnChg>
        <pc:cxnChg chg="mod topLvl">
          <ac:chgData name="Pierugo Pace" userId="2226acec-25d1-48aa-b467-65eac8578bef" providerId="ADAL" clId="{C473F347-30E6-4F99-BD43-7C0AE76DCA8B}" dt="2024-07-10T12:10:45.159" v="7436" actId="20577"/>
          <ac:cxnSpMkLst>
            <pc:docMk/>
            <pc:sldMk cId="3806905397" sldId="3258"/>
            <ac:cxnSpMk id="91" creationId="{D5EEF37C-D7B4-07DA-64FD-14E6AD4696C3}"/>
          </ac:cxnSpMkLst>
        </pc:cxnChg>
        <pc:cxnChg chg="mod">
          <ac:chgData name="Pierugo Pace" userId="2226acec-25d1-48aa-b467-65eac8578bef" providerId="ADAL" clId="{C473F347-30E6-4F99-BD43-7C0AE76DCA8B}" dt="2024-07-05T13:26:29.441" v="4892"/>
          <ac:cxnSpMkLst>
            <pc:docMk/>
            <pc:sldMk cId="3806905397" sldId="3258"/>
            <ac:cxnSpMk id="115" creationId="{F6A0BB8D-0623-C345-2E89-6C11BE0FCD4A}"/>
          </ac:cxnSpMkLst>
        </pc:cxnChg>
        <pc:cxnChg chg="mod">
          <ac:chgData name="Pierugo Pace" userId="2226acec-25d1-48aa-b467-65eac8578bef" providerId="ADAL" clId="{C473F347-30E6-4F99-BD43-7C0AE76DCA8B}" dt="2024-07-05T13:26:29.441" v="4892"/>
          <ac:cxnSpMkLst>
            <pc:docMk/>
            <pc:sldMk cId="3806905397" sldId="3258"/>
            <ac:cxnSpMk id="117" creationId="{F846DD06-677E-E763-6CC2-8C8BC9B263D0}"/>
          </ac:cxnSpMkLst>
        </pc:cxnChg>
        <pc:cxnChg chg="mod">
          <ac:chgData name="Pierugo Pace" userId="2226acec-25d1-48aa-b467-65eac8578bef" providerId="ADAL" clId="{C473F347-30E6-4F99-BD43-7C0AE76DCA8B}" dt="2024-07-05T13:26:29.441" v="4892"/>
          <ac:cxnSpMkLst>
            <pc:docMk/>
            <pc:sldMk cId="3806905397" sldId="3258"/>
            <ac:cxnSpMk id="119" creationId="{5C44F97A-4894-0DF0-CED8-1F64B59CDA6A}"/>
          </ac:cxnSpMkLst>
        </pc:cxnChg>
        <pc:cxnChg chg="mod">
          <ac:chgData name="Pierugo Pace" userId="2226acec-25d1-48aa-b467-65eac8578bef" providerId="ADAL" clId="{C473F347-30E6-4F99-BD43-7C0AE76DCA8B}" dt="2024-07-05T13:26:29.441" v="4892"/>
          <ac:cxnSpMkLst>
            <pc:docMk/>
            <pc:sldMk cId="3806905397" sldId="3258"/>
            <ac:cxnSpMk id="120" creationId="{C0742996-C950-5330-C483-EC837A4E16E1}"/>
          </ac:cxnSpMkLst>
        </pc:cxnChg>
        <pc:cxnChg chg="mod">
          <ac:chgData name="Pierugo Pace" userId="2226acec-25d1-48aa-b467-65eac8578bef" providerId="ADAL" clId="{C473F347-30E6-4F99-BD43-7C0AE76DCA8B}" dt="2024-07-05T13:26:29.441" v="4892"/>
          <ac:cxnSpMkLst>
            <pc:docMk/>
            <pc:sldMk cId="3806905397" sldId="3258"/>
            <ac:cxnSpMk id="122" creationId="{4D24CD45-B9F4-1FE4-B69A-C5FC7091B3A2}"/>
          </ac:cxnSpMkLst>
        </pc:cxnChg>
        <pc:cxnChg chg="mod">
          <ac:chgData name="Pierugo Pace" userId="2226acec-25d1-48aa-b467-65eac8578bef" providerId="ADAL" clId="{C473F347-30E6-4F99-BD43-7C0AE76DCA8B}" dt="2024-07-05T13:26:29.441" v="4892"/>
          <ac:cxnSpMkLst>
            <pc:docMk/>
            <pc:sldMk cId="3806905397" sldId="3258"/>
            <ac:cxnSpMk id="125" creationId="{F206F75B-2A74-87CF-364E-B6049C34F17F}"/>
          </ac:cxnSpMkLst>
        </pc:cxnChg>
        <pc:cxnChg chg="mod">
          <ac:chgData name="Pierugo Pace" userId="2226acec-25d1-48aa-b467-65eac8578bef" providerId="ADAL" clId="{C473F347-30E6-4F99-BD43-7C0AE76DCA8B}" dt="2024-07-05T13:26:29.441" v="4892"/>
          <ac:cxnSpMkLst>
            <pc:docMk/>
            <pc:sldMk cId="3806905397" sldId="3258"/>
            <ac:cxnSpMk id="128" creationId="{6E8316C7-3B8E-5322-CAFA-A8FBA1E220F0}"/>
          </ac:cxnSpMkLst>
        </pc:cxnChg>
        <pc:cxnChg chg="mod">
          <ac:chgData name="Pierugo Pace" userId="2226acec-25d1-48aa-b467-65eac8578bef" providerId="ADAL" clId="{C473F347-30E6-4F99-BD43-7C0AE76DCA8B}" dt="2024-07-05T13:37:39.662" v="4904" actId="20577"/>
          <ac:cxnSpMkLst>
            <pc:docMk/>
            <pc:sldMk cId="3806905397" sldId="3258"/>
            <ac:cxnSpMk id="139" creationId="{0419060F-3803-AF9D-1354-03A575BEE71E}"/>
          </ac:cxnSpMkLst>
        </pc:cxnChg>
        <pc:cxnChg chg="mod">
          <ac:chgData name="Pierugo Pace" userId="2226acec-25d1-48aa-b467-65eac8578bef" providerId="ADAL" clId="{C473F347-30E6-4F99-BD43-7C0AE76DCA8B}" dt="2024-07-05T13:37:39.662" v="4904" actId="20577"/>
          <ac:cxnSpMkLst>
            <pc:docMk/>
            <pc:sldMk cId="3806905397" sldId="3258"/>
            <ac:cxnSpMk id="141" creationId="{F64A1FD4-8FD1-1F7A-DF54-5C1CBE11F629}"/>
          </ac:cxnSpMkLst>
        </pc:cxnChg>
        <pc:cxnChg chg="mod">
          <ac:chgData name="Pierugo Pace" userId="2226acec-25d1-48aa-b467-65eac8578bef" providerId="ADAL" clId="{C473F347-30E6-4F99-BD43-7C0AE76DCA8B}" dt="2024-07-05T13:37:39.662" v="4904" actId="20577"/>
          <ac:cxnSpMkLst>
            <pc:docMk/>
            <pc:sldMk cId="3806905397" sldId="3258"/>
            <ac:cxnSpMk id="143" creationId="{EB9840E6-5AAD-BD21-5C5D-A14061E38617}"/>
          </ac:cxnSpMkLst>
        </pc:cxnChg>
        <pc:cxnChg chg="mod">
          <ac:chgData name="Pierugo Pace" userId="2226acec-25d1-48aa-b467-65eac8578bef" providerId="ADAL" clId="{C473F347-30E6-4F99-BD43-7C0AE76DCA8B}" dt="2024-07-05T13:37:39.662" v="4904" actId="20577"/>
          <ac:cxnSpMkLst>
            <pc:docMk/>
            <pc:sldMk cId="3806905397" sldId="3258"/>
            <ac:cxnSpMk id="144" creationId="{6EB5DE27-74DF-4C75-11C0-5FF405647B14}"/>
          </ac:cxnSpMkLst>
        </pc:cxnChg>
        <pc:cxnChg chg="mod">
          <ac:chgData name="Pierugo Pace" userId="2226acec-25d1-48aa-b467-65eac8578bef" providerId="ADAL" clId="{C473F347-30E6-4F99-BD43-7C0AE76DCA8B}" dt="2024-07-05T13:37:39.662" v="4904" actId="20577"/>
          <ac:cxnSpMkLst>
            <pc:docMk/>
            <pc:sldMk cId="3806905397" sldId="3258"/>
            <ac:cxnSpMk id="146" creationId="{53BB6D97-74DE-05C9-BB36-3433E875B49E}"/>
          </ac:cxnSpMkLst>
        </pc:cxnChg>
        <pc:cxnChg chg="mod">
          <ac:chgData name="Pierugo Pace" userId="2226acec-25d1-48aa-b467-65eac8578bef" providerId="ADAL" clId="{C473F347-30E6-4F99-BD43-7C0AE76DCA8B}" dt="2024-07-05T13:37:39.662" v="4904" actId="20577"/>
          <ac:cxnSpMkLst>
            <pc:docMk/>
            <pc:sldMk cId="3806905397" sldId="3258"/>
            <ac:cxnSpMk id="149" creationId="{34A0ABE1-186B-1ECC-CF75-24FB746CA71E}"/>
          </ac:cxnSpMkLst>
        </pc:cxnChg>
        <pc:cxnChg chg="mod">
          <ac:chgData name="Pierugo Pace" userId="2226acec-25d1-48aa-b467-65eac8578bef" providerId="ADAL" clId="{C473F347-30E6-4F99-BD43-7C0AE76DCA8B}" dt="2024-07-05T13:37:39.662" v="4904" actId="20577"/>
          <ac:cxnSpMkLst>
            <pc:docMk/>
            <pc:sldMk cId="3806905397" sldId="3258"/>
            <ac:cxnSpMk id="152" creationId="{28F787CA-E10C-4C16-429C-09F1ACF5B644}"/>
          </ac:cxnSpMkLst>
        </pc:cxnChg>
      </pc:sldChg>
      <pc:sldChg chg="addSp delSp modSp add mod">
        <pc:chgData name="Pierugo Pace" userId="2226acec-25d1-48aa-b467-65eac8578bef" providerId="ADAL" clId="{C473F347-30E6-4F99-BD43-7C0AE76DCA8B}" dt="2024-07-26T06:55:47.311" v="10684" actId="6549"/>
        <pc:sldMkLst>
          <pc:docMk/>
          <pc:sldMk cId="205943383" sldId="3259"/>
        </pc:sldMkLst>
        <pc:spChg chg="add del mod">
          <ac:chgData name="Pierugo Pace" userId="2226acec-25d1-48aa-b467-65eac8578bef" providerId="ADAL" clId="{C473F347-30E6-4F99-BD43-7C0AE76DCA8B}" dt="2024-07-05T14:31:32.333" v="5302" actId="478"/>
          <ac:spMkLst>
            <pc:docMk/>
            <pc:sldMk cId="205943383" sldId="3259"/>
            <ac:spMk id="2" creationId="{90EA8851-7EC5-C7A1-85A0-6D7FCC0CEDE2}"/>
          </ac:spMkLst>
        </pc:spChg>
        <pc:spChg chg="add del mod">
          <ac:chgData name="Pierugo Pace" userId="2226acec-25d1-48aa-b467-65eac8578bef" providerId="ADAL" clId="{C473F347-30E6-4F99-BD43-7C0AE76DCA8B}" dt="2024-07-24T14:03:30.058" v="10027" actId="478"/>
          <ac:spMkLst>
            <pc:docMk/>
            <pc:sldMk cId="205943383" sldId="3259"/>
            <ac:spMk id="2" creationId="{A0226C9A-FA1B-8C8A-708B-A823F6B61446}"/>
          </ac:spMkLst>
        </pc:spChg>
        <pc:spChg chg="del">
          <ac:chgData name="Pierugo Pace" userId="2226acec-25d1-48aa-b467-65eac8578bef" providerId="ADAL" clId="{C473F347-30E6-4F99-BD43-7C0AE76DCA8B}" dt="2024-07-05T13:59:34.852" v="4948" actId="478"/>
          <ac:spMkLst>
            <pc:docMk/>
            <pc:sldMk cId="205943383" sldId="3259"/>
            <ac:spMk id="2" creationId="{F1D57465-D468-8F46-ED4C-70230794619C}"/>
          </ac:spMkLst>
        </pc:spChg>
        <pc:spChg chg="mod topLvl">
          <ac:chgData name="Pierugo Pace" userId="2226acec-25d1-48aa-b467-65eac8578bef" providerId="ADAL" clId="{C473F347-30E6-4F99-BD43-7C0AE76DCA8B}" dt="2024-07-08T08:21:10.094" v="6485" actId="1076"/>
          <ac:spMkLst>
            <pc:docMk/>
            <pc:sldMk cId="205943383" sldId="3259"/>
            <ac:spMk id="3" creationId="{48467868-2449-DC10-DD32-3B102F5A44A3}"/>
          </ac:spMkLst>
        </pc:spChg>
        <pc:spChg chg="mod topLvl">
          <ac:chgData name="Pierugo Pace" userId="2226acec-25d1-48aa-b467-65eac8578bef" providerId="ADAL" clId="{C473F347-30E6-4F99-BD43-7C0AE76DCA8B}" dt="2024-07-26T06:55:45.386" v="10682" actId="6549"/>
          <ac:spMkLst>
            <pc:docMk/>
            <pc:sldMk cId="205943383" sldId="3259"/>
            <ac:spMk id="4" creationId="{370D67FC-6B77-1C3E-0577-FFEFDC667B67}"/>
          </ac:spMkLst>
        </pc:spChg>
        <pc:spChg chg="mod topLvl">
          <ac:chgData name="Pierugo Pace" userId="2226acec-25d1-48aa-b467-65eac8578bef" providerId="ADAL" clId="{C473F347-30E6-4F99-BD43-7C0AE76DCA8B}" dt="2024-07-08T08:21:01.783" v="6481" actId="571"/>
          <ac:spMkLst>
            <pc:docMk/>
            <pc:sldMk cId="205943383" sldId="3259"/>
            <ac:spMk id="5" creationId="{915B382A-6A03-F33C-A0F6-74D72A29E9BF}"/>
          </ac:spMkLst>
        </pc:spChg>
        <pc:spChg chg="del">
          <ac:chgData name="Pierugo Pace" userId="2226acec-25d1-48aa-b467-65eac8578bef" providerId="ADAL" clId="{C473F347-30E6-4F99-BD43-7C0AE76DCA8B}" dt="2024-07-05T13:59:34.852" v="4948" actId="478"/>
          <ac:spMkLst>
            <pc:docMk/>
            <pc:sldMk cId="205943383" sldId="3259"/>
            <ac:spMk id="6" creationId="{9F10EB19-B4D1-5B3F-21EF-5A0F6C731040}"/>
          </ac:spMkLst>
        </pc:spChg>
        <pc:spChg chg="add 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6" creationId="{CAB28A18-CAB2-0C01-B5AE-F4E7DB249523}"/>
          </ac:spMkLst>
        </pc:spChg>
        <pc:spChg chg="add del mod">
          <ac:chgData name="Pierugo Pace" userId="2226acec-25d1-48aa-b467-65eac8578bef" providerId="ADAL" clId="{C473F347-30E6-4F99-BD43-7C0AE76DCA8B}" dt="2024-07-05T14:31:32.333" v="5302" actId="478"/>
          <ac:spMkLst>
            <pc:docMk/>
            <pc:sldMk cId="205943383" sldId="3259"/>
            <ac:spMk id="7" creationId="{763F7441-F7FA-37E9-D6BB-2E60C06AF871}"/>
          </ac:spMkLst>
        </pc:spChg>
        <pc:spChg chg="add mod">
          <ac:chgData name="Pierugo Pace" userId="2226acec-25d1-48aa-b467-65eac8578bef" providerId="ADAL" clId="{C473F347-30E6-4F99-BD43-7C0AE76DCA8B}" dt="2024-07-24T14:04:37.595" v="10042" actId="20577"/>
          <ac:spMkLst>
            <pc:docMk/>
            <pc:sldMk cId="205943383" sldId="3259"/>
            <ac:spMk id="7" creationId="{90EDBA92-2EFA-48F5-3301-BE34A099F6DA}"/>
          </ac:spMkLst>
        </pc:spChg>
        <pc:spChg chg="add 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8" creationId="{D8EEBD37-2F76-797A-C4A7-7E2896E827B2}"/>
          </ac:spMkLst>
        </pc:spChg>
        <pc:spChg chg="add del mod">
          <ac:chgData name="Pierugo Pace" userId="2226acec-25d1-48aa-b467-65eac8578bef" providerId="ADAL" clId="{C473F347-30E6-4F99-BD43-7C0AE76DCA8B}" dt="2024-07-05T13:59:36.650" v="4949" actId="478"/>
          <ac:spMkLst>
            <pc:docMk/>
            <pc:sldMk cId="205943383" sldId="3259"/>
            <ac:spMk id="8" creationId="{DE184143-51E2-2354-16C9-FF842C12CFAE}"/>
          </ac:spMkLst>
        </pc:spChg>
        <pc:spChg chg="mod topLvl">
          <ac:chgData name="Pierugo Pace" userId="2226acec-25d1-48aa-b467-65eac8578bef" providerId="ADAL" clId="{C473F347-30E6-4F99-BD43-7C0AE76DCA8B}" dt="2024-07-24T14:08:01.617" v="10112" actId="1076"/>
          <ac:spMkLst>
            <pc:docMk/>
            <pc:sldMk cId="205943383" sldId="3259"/>
            <ac:spMk id="10" creationId="{B80566C9-12DB-EAD8-3BDE-8501A28EF58B}"/>
          </ac:spMkLst>
        </pc:spChg>
        <pc:spChg chg="mod">
          <ac:chgData name="Pierugo Pace" userId="2226acec-25d1-48aa-b467-65eac8578bef" providerId="ADAL" clId="{C473F347-30E6-4F99-BD43-7C0AE76DCA8B}" dt="2024-07-05T14:00:51.041" v="4979"/>
          <ac:spMkLst>
            <pc:docMk/>
            <pc:sldMk cId="205943383" sldId="3259"/>
            <ac:spMk id="11" creationId="{6AB25924-A9DC-0D5B-6DB0-942128A0741E}"/>
          </ac:spMkLst>
        </pc:spChg>
        <pc:spChg chg="mod">
          <ac:chgData name="Pierugo Pace" userId="2226acec-25d1-48aa-b467-65eac8578bef" providerId="ADAL" clId="{C473F347-30E6-4F99-BD43-7C0AE76DCA8B}" dt="2024-07-05T14:00:51.041" v="4979"/>
          <ac:spMkLst>
            <pc:docMk/>
            <pc:sldMk cId="205943383" sldId="3259"/>
            <ac:spMk id="13" creationId="{2B67618E-FC28-2210-E8F2-FB70545155D2}"/>
          </ac:spMkLst>
        </pc:spChg>
        <pc:spChg chg="add 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13" creationId="{9BA933BD-A7A9-1598-D343-33AEB0B6D394}"/>
          </ac:spMkLst>
        </pc:spChg>
        <pc:spChg chg="mod">
          <ac:chgData name="Pierugo Pace" userId="2226acec-25d1-48aa-b467-65eac8578bef" providerId="ADAL" clId="{C473F347-30E6-4F99-BD43-7C0AE76DCA8B}" dt="2024-07-05T14:00:51.041" v="4979"/>
          <ac:spMkLst>
            <pc:docMk/>
            <pc:sldMk cId="205943383" sldId="3259"/>
            <ac:spMk id="14" creationId="{9A8E369B-990E-F671-3DA3-6942C49D0CED}"/>
          </ac:spMkLst>
        </pc:spChg>
        <pc:spChg chg="add 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15" creationId="{6C9CA1DA-1F11-3923-1C2C-C436D5D584C2}"/>
          </ac:spMkLst>
        </pc:spChg>
        <pc:spChg chg="mod">
          <ac:chgData name="Pierugo Pace" userId="2226acec-25d1-48aa-b467-65eac8578bef" providerId="ADAL" clId="{C473F347-30E6-4F99-BD43-7C0AE76DCA8B}" dt="2024-07-05T14:00:51.041" v="4979"/>
          <ac:spMkLst>
            <pc:docMk/>
            <pc:sldMk cId="205943383" sldId="3259"/>
            <ac:spMk id="15" creationId="{BA14042F-15F9-426E-D2FB-23663F7A0313}"/>
          </ac:spMkLst>
        </pc:spChg>
        <pc:spChg chg="mod topLvl">
          <ac:chgData name="Pierugo Pace" userId="2226acec-25d1-48aa-b467-65eac8578bef" providerId="ADAL" clId="{C473F347-30E6-4F99-BD43-7C0AE76DCA8B}" dt="2024-07-08T08:21:01.783" v="6481" actId="571"/>
          <ac:spMkLst>
            <pc:docMk/>
            <pc:sldMk cId="205943383" sldId="3259"/>
            <ac:spMk id="17" creationId="{DA34640C-21BF-FFD5-A9A7-64F9EE78A35C}"/>
          </ac:spMkLst>
        </pc:spChg>
        <pc:spChg chg="add 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18" creationId="{58798B16-87F3-4829-7C17-EDD615EFAC11}"/>
          </ac:spMkLst>
        </pc:spChg>
        <pc:spChg chg="mod">
          <ac:chgData name="Pierugo Pace" userId="2226acec-25d1-48aa-b467-65eac8578bef" providerId="ADAL" clId="{C473F347-30E6-4F99-BD43-7C0AE76DCA8B}" dt="2024-07-05T14:00:51.041" v="4979"/>
          <ac:spMkLst>
            <pc:docMk/>
            <pc:sldMk cId="205943383" sldId="3259"/>
            <ac:spMk id="18" creationId="{58CC5936-D9DA-BE91-C57C-F9C183DB5626}"/>
          </ac:spMkLst>
        </pc:spChg>
        <pc:spChg chg="mod topLvl">
          <ac:chgData name="Pierugo Pace" userId="2226acec-25d1-48aa-b467-65eac8578bef" providerId="ADAL" clId="{C473F347-30E6-4F99-BD43-7C0AE76DCA8B}" dt="2024-07-08T08:21:01.783" v="6481" actId="571"/>
          <ac:spMkLst>
            <pc:docMk/>
            <pc:sldMk cId="205943383" sldId="3259"/>
            <ac:spMk id="19" creationId="{519FBEE0-C313-CE5D-C336-D74D55FA46E2}"/>
          </ac:spMkLst>
        </pc:spChg>
        <pc:spChg chg="add 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20" creationId="{D6A9E7D6-5A22-CAC4-6813-0E9D5AC8D705}"/>
          </ac:spMkLst>
        </pc:spChg>
        <pc:spChg chg="mod">
          <ac:chgData name="Pierugo Pace" userId="2226acec-25d1-48aa-b467-65eac8578bef" providerId="ADAL" clId="{C473F347-30E6-4F99-BD43-7C0AE76DCA8B}" dt="2024-07-05T14:00:51.041" v="4979"/>
          <ac:spMkLst>
            <pc:docMk/>
            <pc:sldMk cId="205943383" sldId="3259"/>
            <ac:spMk id="20" creationId="{FBF9A1FF-6427-124F-0A09-10D6D39F12AF}"/>
          </ac:spMkLst>
        </pc:spChg>
        <pc:spChg chg="mod topLvl">
          <ac:chgData name="Pierugo Pace" userId="2226acec-25d1-48aa-b467-65eac8578bef" providerId="ADAL" clId="{C473F347-30E6-4F99-BD43-7C0AE76DCA8B}" dt="2024-07-08T08:21:01.783" v="6481" actId="571"/>
          <ac:spMkLst>
            <pc:docMk/>
            <pc:sldMk cId="205943383" sldId="3259"/>
            <ac:spMk id="22" creationId="{5E1A6FA3-450D-882B-E55F-FCEC722EFBBC}"/>
          </ac:spMkLst>
        </pc:spChg>
        <pc:spChg chg="mod topLvl">
          <ac:chgData name="Pierugo Pace" userId="2226acec-25d1-48aa-b467-65eac8578bef" providerId="ADAL" clId="{C473F347-30E6-4F99-BD43-7C0AE76DCA8B}" dt="2024-07-08T08:21:01.783" v="6481" actId="571"/>
          <ac:spMkLst>
            <pc:docMk/>
            <pc:sldMk cId="205943383" sldId="3259"/>
            <ac:spMk id="23" creationId="{9A15C805-A6D5-3C06-BDA5-CD974493CB4B}"/>
          </ac:spMkLst>
        </pc:spChg>
        <pc:spChg chg="mod topLvl">
          <ac:chgData name="Pierugo Pace" userId="2226acec-25d1-48aa-b467-65eac8578bef" providerId="ADAL" clId="{C473F347-30E6-4F99-BD43-7C0AE76DCA8B}" dt="2024-07-08T08:21:01.783" v="6481" actId="571"/>
          <ac:spMkLst>
            <pc:docMk/>
            <pc:sldMk cId="205943383" sldId="3259"/>
            <ac:spMk id="26" creationId="{3E7C058E-AB30-6D83-34BC-6A2EE4473A38}"/>
          </ac:spMkLst>
        </pc:spChg>
        <pc:spChg chg="mod topLvl">
          <ac:chgData name="Pierugo Pace" userId="2226acec-25d1-48aa-b467-65eac8578bef" providerId="ADAL" clId="{C473F347-30E6-4F99-BD43-7C0AE76DCA8B}" dt="2024-07-24T13:46:19.028" v="9166" actId="1076"/>
          <ac:spMkLst>
            <pc:docMk/>
            <pc:sldMk cId="205943383" sldId="3259"/>
            <ac:spMk id="28" creationId="{72C8EAB9-F625-1118-A384-638E4FCE2A63}"/>
          </ac:spMkLst>
        </pc:spChg>
        <pc:spChg chg="mod topLvl">
          <ac:chgData name="Pierugo Pace" userId="2226acec-25d1-48aa-b467-65eac8578bef" providerId="ADAL" clId="{C473F347-30E6-4F99-BD43-7C0AE76DCA8B}" dt="2024-07-08T08:21:01.783" v="6481" actId="571"/>
          <ac:spMkLst>
            <pc:docMk/>
            <pc:sldMk cId="205943383" sldId="3259"/>
            <ac:spMk id="30" creationId="{31D609C8-2F3E-14CE-A965-F02EAAA5529A}"/>
          </ac:spMkLst>
        </pc:spChg>
        <pc:spChg chg="mod topLvl">
          <ac:chgData name="Pierugo Pace" userId="2226acec-25d1-48aa-b467-65eac8578bef" providerId="ADAL" clId="{C473F347-30E6-4F99-BD43-7C0AE76DCA8B}" dt="2024-07-08T08:21:01.783" v="6481" actId="571"/>
          <ac:spMkLst>
            <pc:docMk/>
            <pc:sldMk cId="205943383" sldId="3259"/>
            <ac:spMk id="32" creationId="{EC8EF652-8D48-4898-A61D-9AABB00935FD}"/>
          </ac:spMkLst>
        </pc:spChg>
        <pc:spChg chg="add 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33" creationId="{42262F02-A48A-61E6-48E2-20E0D6E766AA}"/>
          </ac:spMkLst>
        </pc:spChg>
        <pc:spChg chg="mod">
          <ac:chgData name="Pierugo Pace" userId="2226acec-25d1-48aa-b467-65eac8578bef" providerId="ADAL" clId="{C473F347-30E6-4F99-BD43-7C0AE76DCA8B}" dt="2024-07-05T14:00:51.041" v="4979"/>
          <ac:spMkLst>
            <pc:docMk/>
            <pc:sldMk cId="205943383" sldId="3259"/>
            <ac:spMk id="33" creationId="{DD2D0548-6F22-7AD7-4DD1-DC2D1DA88FE5}"/>
          </ac:spMkLst>
        </pc:spChg>
        <pc:spChg chg="mod">
          <ac:chgData name="Pierugo Pace" userId="2226acec-25d1-48aa-b467-65eac8578bef" providerId="ADAL" clId="{C473F347-30E6-4F99-BD43-7C0AE76DCA8B}" dt="2024-07-05T14:00:51.041" v="4979"/>
          <ac:spMkLst>
            <pc:docMk/>
            <pc:sldMk cId="205943383" sldId="3259"/>
            <ac:spMk id="34" creationId="{5FE5022A-F607-E0A2-E942-9629CFD27E13}"/>
          </ac:spMkLst>
        </pc:spChg>
        <pc:spChg chg="add 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34" creationId="{5FEE47FA-322E-6B4D-2704-CFE205457AD6}"/>
          </ac:spMkLst>
        </pc:spChg>
        <pc:spChg chg="add del mod">
          <ac:chgData name="Pierugo Pace" userId="2226acec-25d1-48aa-b467-65eac8578bef" providerId="ADAL" clId="{C473F347-30E6-4F99-BD43-7C0AE76DCA8B}" dt="2024-07-05T14:31:32.333" v="5302" actId="478"/>
          <ac:spMkLst>
            <pc:docMk/>
            <pc:sldMk cId="205943383" sldId="3259"/>
            <ac:spMk id="35" creationId="{829F093A-68BC-B5C5-25C4-193D5D3C38E4}"/>
          </ac:spMkLst>
        </pc:spChg>
        <pc:spChg chg="add del mod">
          <ac:chgData name="Pierugo Pace" userId="2226acec-25d1-48aa-b467-65eac8578bef" providerId="ADAL" clId="{C473F347-30E6-4F99-BD43-7C0AE76DCA8B}" dt="2024-07-05T14:33:24.994" v="5328" actId="478"/>
          <ac:spMkLst>
            <pc:docMk/>
            <pc:sldMk cId="205943383" sldId="3259"/>
            <ac:spMk id="36" creationId="{F0E69DEC-B96D-4477-55EA-171CE1C3349B}"/>
          </ac:spMkLst>
        </pc:spChg>
        <pc:spChg chg="add mod">
          <ac:chgData name="Pierugo Pace" userId="2226acec-25d1-48aa-b467-65eac8578bef" providerId="ADAL" clId="{C473F347-30E6-4F99-BD43-7C0AE76DCA8B}" dt="2024-07-08T08:21:01.783" v="6481" actId="571"/>
          <ac:spMkLst>
            <pc:docMk/>
            <pc:sldMk cId="205943383" sldId="3259"/>
            <ac:spMk id="37" creationId="{61B3C77C-A59F-9D43-F4E2-A4D7CF9D0B9A}"/>
          </ac:spMkLst>
        </pc:spChg>
        <pc:spChg chg="mod">
          <ac:chgData name="Pierugo Pace" userId="2226acec-25d1-48aa-b467-65eac8578bef" providerId="ADAL" clId="{C473F347-30E6-4F99-BD43-7C0AE76DCA8B}" dt="2024-07-05T14:00:51.041" v="4979"/>
          <ac:spMkLst>
            <pc:docMk/>
            <pc:sldMk cId="205943383" sldId="3259"/>
            <ac:spMk id="37" creationId="{B3473342-4A65-F453-AA58-DA300B712C16}"/>
          </ac:spMkLst>
        </pc:spChg>
        <pc:spChg chg="add del mod">
          <ac:chgData name="Pierugo Pace" userId="2226acec-25d1-48aa-b467-65eac8578bef" providerId="ADAL" clId="{C473F347-30E6-4F99-BD43-7C0AE76DCA8B}" dt="2024-07-05T14:31:32.333" v="5302" actId="478"/>
          <ac:spMkLst>
            <pc:docMk/>
            <pc:sldMk cId="205943383" sldId="3259"/>
            <ac:spMk id="37" creationId="{E2A68BD6-3545-B6ED-0D74-8EE85B9A6BCA}"/>
          </ac:spMkLst>
        </pc:spChg>
        <pc:spChg chg="add del mod">
          <ac:chgData name="Pierugo Pace" userId="2226acec-25d1-48aa-b467-65eac8578bef" providerId="ADAL" clId="{C473F347-30E6-4F99-BD43-7C0AE76DCA8B}" dt="2024-07-05T14:33:24.994" v="5328" actId="478"/>
          <ac:spMkLst>
            <pc:docMk/>
            <pc:sldMk cId="205943383" sldId="3259"/>
            <ac:spMk id="38" creationId="{20854D93-8E5F-C68B-6AA7-90D5AC4DD8A6}"/>
          </ac:spMkLst>
        </pc:spChg>
        <pc:spChg chg="mod topLvl">
          <ac:chgData name="Pierugo Pace" userId="2226acec-25d1-48aa-b467-65eac8578bef" providerId="ADAL" clId="{C473F347-30E6-4F99-BD43-7C0AE76DCA8B}" dt="2024-07-08T08:21:01.783" v="6481" actId="571"/>
          <ac:spMkLst>
            <pc:docMk/>
            <pc:sldMk cId="205943383" sldId="3259"/>
            <ac:spMk id="39" creationId="{FBAEE39A-F0DF-04C3-4758-C159E1DE830F}"/>
          </ac:spMkLst>
        </pc:spChg>
        <pc:spChg chg="mod topLvl">
          <ac:chgData name="Pierugo Pace" userId="2226acec-25d1-48aa-b467-65eac8578bef" providerId="ADAL" clId="{C473F347-30E6-4F99-BD43-7C0AE76DCA8B}" dt="2024-07-08T08:21:01.783" v="6481" actId="571"/>
          <ac:spMkLst>
            <pc:docMk/>
            <pc:sldMk cId="205943383" sldId="3259"/>
            <ac:spMk id="41" creationId="{28DA578F-306A-B5A5-7899-FDF719A152B8}"/>
          </ac:spMkLst>
        </pc:spChg>
        <pc:spChg chg="mod">
          <ac:chgData name="Pierugo Pace" userId="2226acec-25d1-48aa-b467-65eac8578bef" providerId="ADAL" clId="{C473F347-30E6-4F99-BD43-7C0AE76DCA8B}" dt="2024-07-05T14:00:51.041" v="4979"/>
          <ac:spMkLst>
            <pc:docMk/>
            <pc:sldMk cId="205943383" sldId="3259"/>
            <ac:spMk id="42" creationId="{8FD05456-2DA3-1CF8-ABF4-BD9C2FB5D46C}"/>
          </ac:spMkLst>
        </pc:spChg>
        <pc:spChg chg="mod topLvl">
          <ac:chgData name="Pierugo Pace" userId="2226acec-25d1-48aa-b467-65eac8578bef" providerId="ADAL" clId="{C473F347-30E6-4F99-BD43-7C0AE76DCA8B}" dt="2024-07-08T08:21:01.783" v="6481" actId="571"/>
          <ac:spMkLst>
            <pc:docMk/>
            <pc:sldMk cId="205943383" sldId="3259"/>
            <ac:spMk id="43" creationId="{59CC3189-BE11-9591-C3C6-328F7BE6B0D1}"/>
          </ac:spMkLst>
        </pc:spChg>
        <pc:spChg chg="mod">
          <ac:chgData name="Pierugo Pace" userId="2226acec-25d1-48aa-b467-65eac8578bef" providerId="ADAL" clId="{C473F347-30E6-4F99-BD43-7C0AE76DCA8B}" dt="2024-07-05T14:00:51.041" v="4979"/>
          <ac:spMkLst>
            <pc:docMk/>
            <pc:sldMk cId="205943383" sldId="3259"/>
            <ac:spMk id="44" creationId="{C757541B-9C52-7A60-F78A-09797BD3E015}"/>
          </ac:spMkLst>
        </pc:spChg>
        <pc:spChg chg="add del mod">
          <ac:chgData name="Pierugo Pace" userId="2226acec-25d1-48aa-b467-65eac8578bef" providerId="ADAL" clId="{C473F347-30E6-4F99-BD43-7C0AE76DCA8B}" dt="2024-07-05T14:33:24.994" v="5328" actId="478"/>
          <ac:spMkLst>
            <pc:docMk/>
            <pc:sldMk cId="205943383" sldId="3259"/>
            <ac:spMk id="45" creationId="{E33C90FC-E893-4241-4CCC-AC93504B0130}"/>
          </ac:spMkLst>
        </pc:spChg>
        <pc:spChg chg="mod">
          <ac:chgData name="Pierugo Pace" userId="2226acec-25d1-48aa-b467-65eac8578bef" providerId="ADAL" clId="{C473F347-30E6-4F99-BD43-7C0AE76DCA8B}" dt="2024-07-05T14:00:51.041" v="4979"/>
          <ac:spMkLst>
            <pc:docMk/>
            <pc:sldMk cId="205943383" sldId="3259"/>
            <ac:spMk id="46" creationId="{E22F5C8B-1F3C-CB11-3E99-C4C24CFE5B49}"/>
          </ac:spMkLst>
        </pc:spChg>
        <pc:spChg chg="mod">
          <ac:chgData name="Pierugo Pace" userId="2226acec-25d1-48aa-b467-65eac8578bef" providerId="ADAL" clId="{C473F347-30E6-4F99-BD43-7C0AE76DCA8B}" dt="2024-07-05T14:00:51.041" v="4979"/>
          <ac:spMkLst>
            <pc:docMk/>
            <pc:sldMk cId="205943383" sldId="3259"/>
            <ac:spMk id="47" creationId="{26D13051-21DF-EF64-0D05-4629F5E35AA5}"/>
          </ac:spMkLst>
        </pc:spChg>
        <pc:spChg chg="add del mod">
          <ac:chgData name="Pierugo Pace" userId="2226acec-25d1-48aa-b467-65eac8578bef" providerId="ADAL" clId="{C473F347-30E6-4F99-BD43-7C0AE76DCA8B}" dt="2024-07-05T14:33:24.994" v="5328" actId="478"/>
          <ac:spMkLst>
            <pc:docMk/>
            <pc:sldMk cId="205943383" sldId="3259"/>
            <ac:spMk id="47" creationId="{75B359BA-44F1-5DD8-A486-F8570AD40332}"/>
          </ac:spMkLst>
        </pc:spChg>
        <pc:spChg chg="mod">
          <ac:chgData name="Pierugo Pace" userId="2226acec-25d1-48aa-b467-65eac8578bef" providerId="ADAL" clId="{C473F347-30E6-4F99-BD43-7C0AE76DCA8B}" dt="2024-07-05T14:00:51.041" v="4979"/>
          <ac:spMkLst>
            <pc:docMk/>
            <pc:sldMk cId="205943383" sldId="3259"/>
            <ac:spMk id="49" creationId="{C4DE2AF1-5AFA-AD02-A971-D9EE639E3675}"/>
          </ac:spMkLst>
        </pc:spChg>
        <pc:spChg chg="add del mod">
          <ac:chgData name="Pierugo Pace" userId="2226acec-25d1-48aa-b467-65eac8578bef" providerId="ADAL" clId="{C473F347-30E6-4F99-BD43-7C0AE76DCA8B}" dt="2024-07-05T14:33:24.994" v="5328" actId="478"/>
          <ac:spMkLst>
            <pc:docMk/>
            <pc:sldMk cId="205943383" sldId="3259"/>
            <ac:spMk id="49" creationId="{D1CCFDCE-6C10-0245-64D5-1CB437CBB354}"/>
          </ac:spMkLst>
        </pc:spChg>
        <pc:spChg chg="mod">
          <ac:chgData name="Pierugo Pace" userId="2226acec-25d1-48aa-b467-65eac8578bef" providerId="ADAL" clId="{C473F347-30E6-4F99-BD43-7C0AE76DCA8B}" dt="2024-07-05T14:00:51.041" v="4979"/>
          <ac:spMkLst>
            <pc:docMk/>
            <pc:sldMk cId="205943383" sldId="3259"/>
            <ac:spMk id="50" creationId="{621FA332-A267-8DE7-B2D5-B889E2132B35}"/>
          </ac:spMkLst>
        </pc:spChg>
        <pc:spChg chg="add del mod">
          <ac:chgData name="Pierugo Pace" userId="2226acec-25d1-48aa-b467-65eac8578bef" providerId="ADAL" clId="{C473F347-30E6-4F99-BD43-7C0AE76DCA8B}" dt="2024-07-05T14:33:24.994" v="5328" actId="478"/>
          <ac:spMkLst>
            <pc:docMk/>
            <pc:sldMk cId="205943383" sldId="3259"/>
            <ac:spMk id="50" creationId="{6F6676D7-508D-F077-7183-61DA24606CE8}"/>
          </ac:spMkLst>
        </pc:spChg>
        <pc:spChg chg="mod">
          <ac:chgData name="Pierugo Pace" userId="2226acec-25d1-48aa-b467-65eac8578bef" providerId="ADAL" clId="{C473F347-30E6-4F99-BD43-7C0AE76DCA8B}" dt="2024-07-05T14:00:51.041" v="4979"/>
          <ac:spMkLst>
            <pc:docMk/>
            <pc:sldMk cId="205943383" sldId="3259"/>
            <ac:spMk id="51" creationId="{DC91126C-5747-EAA2-7AEC-579A6D557111}"/>
          </ac:spMkLst>
        </pc:spChg>
        <pc:spChg chg="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53" creationId="{4778F096-A4C2-59B7-ADA5-A7BC62BEA96C}"/>
          </ac:spMkLst>
        </pc:spChg>
        <pc:spChg chg="mod topLvl">
          <ac:chgData name="Pierugo Pace" userId="2226acec-25d1-48aa-b467-65eac8578bef" providerId="ADAL" clId="{C473F347-30E6-4F99-BD43-7C0AE76DCA8B}" dt="2024-07-26T06:55:47.311" v="10684" actId="6549"/>
          <ac:spMkLst>
            <pc:docMk/>
            <pc:sldMk cId="205943383" sldId="3259"/>
            <ac:spMk id="54" creationId="{D307238B-4ED8-68FB-96C8-DFE2E70D7215}"/>
          </ac:spMkLst>
        </pc:spChg>
        <pc:spChg chg="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55" creationId="{D4B75098-A40F-043A-DA8E-B218E3F039DB}"/>
          </ac:spMkLst>
        </pc:spChg>
        <pc:spChg chg="mod topLvl">
          <ac:chgData name="Pierugo Pace" userId="2226acec-25d1-48aa-b467-65eac8578bef" providerId="ADAL" clId="{C473F347-30E6-4F99-BD43-7C0AE76DCA8B}" dt="2024-07-24T14:05:05.204" v="10060" actId="1076"/>
          <ac:spMkLst>
            <pc:docMk/>
            <pc:sldMk cId="205943383" sldId="3259"/>
            <ac:spMk id="56" creationId="{97A1E7D1-D079-A3E9-0743-F00363A5CA72}"/>
          </ac:spMkLst>
        </pc:spChg>
        <pc:spChg chg="del mod topLvl">
          <ac:chgData name="Pierugo Pace" userId="2226acec-25d1-48aa-b467-65eac8578bef" providerId="ADAL" clId="{C473F347-30E6-4F99-BD43-7C0AE76DCA8B}" dt="2024-07-05T14:31:32.333" v="5302" actId="478"/>
          <ac:spMkLst>
            <pc:docMk/>
            <pc:sldMk cId="205943383" sldId="3259"/>
            <ac:spMk id="58" creationId="{CAB7CABA-4C35-0697-1AB2-9A4BFB9B16C6}"/>
          </ac:spMkLst>
        </pc:spChg>
        <pc:spChg chg="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59" creationId="{E5AAB930-53F0-33D9-AFAD-6AA9077881A7}"/>
          </ac:spMkLst>
        </pc:spChg>
        <pc:spChg chg="del mod topLvl">
          <ac:chgData name="Pierugo Pace" userId="2226acec-25d1-48aa-b467-65eac8578bef" providerId="ADAL" clId="{C473F347-30E6-4F99-BD43-7C0AE76DCA8B}" dt="2024-07-05T14:31:32.333" v="5302" actId="478"/>
          <ac:spMkLst>
            <pc:docMk/>
            <pc:sldMk cId="205943383" sldId="3259"/>
            <ac:spMk id="61" creationId="{1BDB0E2F-6577-0325-8B53-A73960FA8A7E}"/>
          </ac:spMkLst>
        </pc:spChg>
        <pc:spChg chg="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62" creationId="{60153ED5-7725-0949-5821-ABD706E68284}"/>
          </ac:spMkLst>
        </pc:spChg>
        <pc:spChg chg="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65" creationId="{5ADE4285-D509-C619-F134-14AB9FC65F4A}"/>
          </ac:spMkLst>
        </pc:spChg>
        <pc:spChg chg="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67" creationId="{47222931-9076-A407-98EA-AFD36A03334B}"/>
          </ac:spMkLst>
        </pc:spChg>
        <pc:spChg chg="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68" creationId="{602BC106-B7A0-81B2-2BBE-A8BEAF231DDC}"/>
          </ac:spMkLst>
        </pc:spChg>
        <pc:spChg chg="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70" creationId="{F21317AE-0735-54AC-49CC-9FA74C397A05}"/>
          </ac:spMkLst>
        </pc:spChg>
        <pc:spChg chg="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71" creationId="{96483E4A-3D12-1335-D151-3C81125044F6}"/>
          </ac:spMkLst>
        </pc:spChg>
        <pc:spChg chg="add del mod">
          <ac:chgData name="Pierugo Pace" userId="2226acec-25d1-48aa-b467-65eac8578bef" providerId="ADAL" clId="{C473F347-30E6-4F99-BD43-7C0AE76DCA8B}" dt="2024-07-05T14:33:24.994" v="5328" actId="478"/>
          <ac:spMkLst>
            <pc:docMk/>
            <pc:sldMk cId="205943383" sldId="3259"/>
            <ac:spMk id="72" creationId="{C0EFF6B1-8CFD-D288-63E1-A4F18269A247}"/>
          </ac:spMkLst>
        </pc:spChg>
        <pc:spChg chg="add del mod">
          <ac:chgData name="Pierugo Pace" userId="2226acec-25d1-48aa-b467-65eac8578bef" providerId="ADAL" clId="{C473F347-30E6-4F99-BD43-7C0AE76DCA8B}" dt="2024-07-05T14:33:24.994" v="5328" actId="478"/>
          <ac:spMkLst>
            <pc:docMk/>
            <pc:sldMk cId="205943383" sldId="3259"/>
            <ac:spMk id="73" creationId="{06ED47C9-2187-6E30-B1E3-DB582EFA81E1}"/>
          </ac:spMkLst>
        </pc:spChg>
        <pc:spChg chg="add mod topLvl">
          <ac:chgData name="Pierugo Pace" userId="2226acec-25d1-48aa-b467-65eac8578bef" providerId="ADAL" clId="{C473F347-30E6-4F99-BD43-7C0AE76DCA8B}" dt="2024-07-08T08:21:01.783" v="6481" actId="571"/>
          <ac:spMkLst>
            <pc:docMk/>
            <pc:sldMk cId="205943383" sldId="3259"/>
            <ac:spMk id="78" creationId="{508D517A-3775-4380-BDDC-1E6BD8849CB8}"/>
          </ac:spMkLst>
        </pc:spChg>
        <pc:spChg chg="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79" creationId="{DA40EAD0-158A-4D07-4232-DAFA2205AD8B}"/>
          </ac:spMkLst>
        </pc:spChg>
        <pc:spChg chg="add mod topLvl">
          <ac:chgData name="Pierugo Pace" userId="2226acec-25d1-48aa-b467-65eac8578bef" providerId="ADAL" clId="{C473F347-30E6-4F99-BD43-7C0AE76DCA8B}" dt="2024-07-08T08:21:01.783" v="6481" actId="571"/>
          <ac:spMkLst>
            <pc:docMk/>
            <pc:sldMk cId="205943383" sldId="3259"/>
            <ac:spMk id="80" creationId="{A200EAD6-1F5D-9338-4DC3-30E9D69F89FD}"/>
          </ac:spMkLst>
        </pc:spChg>
        <pc:spChg chg="add 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88" creationId="{D29F1EDB-7D9C-D7F5-C58A-F96D34EA24BC}"/>
          </ac:spMkLst>
        </pc:spChg>
        <pc:spChg chg="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89" creationId="{B6715932-18ED-474F-5208-186618337BAE}"/>
          </ac:spMkLst>
        </pc:spChg>
        <pc:spChg chg="add 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90" creationId="{82781DCD-3428-C54B-C5BC-08906483E969}"/>
          </ac:spMkLst>
        </pc:spChg>
        <pc:spChg chg="add del mod">
          <ac:chgData name="Pierugo Pace" userId="2226acec-25d1-48aa-b467-65eac8578bef" providerId="ADAL" clId="{C473F347-30E6-4F99-BD43-7C0AE76DCA8B}" dt="2024-07-05T14:33:24.994" v="5328" actId="478"/>
          <ac:spMkLst>
            <pc:docMk/>
            <pc:sldMk cId="205943383" sldId="3259"/>
            <ac:spMk id="91" creationId="{9A70429D-1668-641F-A3E3-7CBADA6388C2}"/>
          </ac:spMkLst>
        </pc:spChg>
        <pc:spChg chg="add 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92" creationId="{C3CE84DF-E8A0-14E9-1F33-77DAB99044A8}"/>
          </ac:spMkLst>
        </pc:spChg>
        <pc:spChg chg="add 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93" creationId="{BBA13A9C-37AE-43B5-F519-09F5D2E9843C}"/>
          </ac:spMkLst>
        </pc:spChg>
        <pc:spChg chg="mod topLvl">
          <ac:chgData name="Pierugo Pace" userId="2226acec-25d1-48aa-b467-65eac8578bef" providerId="ADAL" clId="{C473F347-30E6-4F99-BD43-7C0AE76DCA8B}" dt="2024-07-24T14:09:36.851" v="10171" actId="1076"/>
          <ac:spMkLst>
            <pc:docMk/>
            <pc:sldMk cId="205943383" sldId="3259"/>
            <ac:spMk id="94" creationId="{9BC3C67E-D2BF-D74B-392C-33530CDC958A}"/>
          </ac:spMkLst>
        </pc:spChg>
        <pc:spChg chg="mod topLvl">
          <ac:chgData name="Pierugo Pace" userId="2226acec-25d1-48aa-b467-65eac8578bef" providerId="ADAL" clId="{C473F347-30E6-4F99-BD43-7C0AE76DCA8B}" dt="2024-07-24T14:09:19.600" v="10157" actId="1076"/>
          <ac:spMkLst>
            <pc:docMk/>
            <pc:sldMk cId="205943383" sldId="3259"/>
            <ac:spMk id="95" creationId="{9427C599-1472-05C3-522F-B117DFE4AE68}"/>
          </ac:spMkLst>
        </pc:spChg>
        <pc:spChg chg="add mod">
          <ac:chgData name="Pierugo Pace" userId="2226acec-25d1-48aa-b467-65eac8578bef" providerId="ADAL" clId="{C473F347-30E6-4F99-BD43-7C0AE76DCA8B}" dt="2024-07-05T14:03:08.748" v="5079" actId="571"/>
          <ac:spMkLst>
            <pc:docMk/>
            <pc:sldMk cId="205943383" sldId="3259"/>
            <ac:spMk id="96" creationId="{07212464-CF6A-D3A3-AA45-8F763765C6AB}"/>
          </ac:spMkLst>
        </pc:spChg>
        <pc:spChg chg="add del mod">
          <ac:chgData name="Pierugo Pace" userId="2226acec-25d1-48aa-b467-65eac8578bef" providerId="ADAL" clId="{C473F347-30E6-4F99-BD43-7C0AE76DCA8B}" dt="2024-07-05T14:33:24.994" v="5328" actId="478"/>
          <ac:spMkLst>
            <pc:docMk/>
            <pc:sldMk cId="205943383" sldId="3259"/>
            <ac:spMk id="96" creationId="{09D64C8A-8530-321E-B7DE-1904223C5CF4}"/>
          </ac:spMkLst>
        </pc:spChg>
        <pc:spChg chg="add 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97" creationId="{D13946CB-A907-49E4-E9D3-39799E334BB7}"/>
          </ac:spMkLst>
        </pc:spChg>
        <pc:spChg chg="add mod">
          <ac:chgData name="Pierugo Pace" userId="2226acec-25d1-48aa-b467-65eac8578bef" providerId="ADAL" clId="{C473F347-30E6-4F99-BD43-7C0AE76DCA8B}" dt="2024-07-05T14:03:08.748" v="5079" actId="571"/>
          <ac:spMkLst>
            <pc:docMk/>
            <pc:sldMk cId="205943383" sldId="3259"/>
            <ac:spMk id="98" creationId="{AB1DE458-B9BD-0B88-1D09-7F333D508FF2}"/>
          </ac:spMkLst>
        </pc:spChg>
        <pc:spChg chg="add 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98" creationId="{FF9321B8-B850-B294-610D-7D289AECF975}"/>
          </ac:spMkLst>
        </pc:spChg>
        <pc:spChg chg="add mod">
          <ac:chgData name="Pierugo Pace" userId="2226acec-25d1-48aa-b467-65eac8578bef" providerId="ADAL" clId="{C473F347-30E6-4F99-BD43-7C0AE76DCA8B}" dt="2024-07-05T14:03:08.748" v="5079" actId="571"/>
          <ac:spMkLst>
            <pc:docMk/>
            <pc:sldMk cId="205943383" sldId="3259"/>
            <ac:spMk id="99" creationId="{479CFD2F-08CC-B93D-CD8F-670F1D9B9093}"/>
          </ac:spMkLst>
        </pc:spChg>
        <pc:spChg chg="add mod">
          <ac:chgData name="Pierugo Pace" userId="2226acec-25d1-48aa-b467-65eac8578bef" providerId="ADAL" clId="{C473F347-30E6-4F99-BD43-7C0AE76DCA8B}" dt="2024-07-05T14:33:22.758" v="5327" actId="571"/>
          <ac:spMkLst>
            <pc:docMk/>
            <pc:sldMk cId="205943383" sldId="3259"/>
            <ac:spMk id="99" creationId="{7C59E7B6-D5B2-474E-7C2D-01C3576A76EA}"/>
          </ac:spMkLst>
        </pc:spChg>
        <pc:spChg chg="add mod">
          <ac:chgData name="Pierugo Pace" userId="2226acec-25d1-48aa-b467-65eac8578bef" providerId="ADAL" clId="{C473F347-30E6-4F99-BD43-7C0AE76DCA8B}" dt="2024-07-05T14:33:22.758" v="5327" actId="571"/>
          <ac:spMkLst>
            <pc:docMk/>
            <pc:sldMk cId="205943383" sldId="3259"/>
            <ac:spMk id="100" creationId="{1174B569-03B6-DE64-7F38-8AC811556824}"/>
          </ac:spMkLst>
        </pc:spChg>
        <pc:spChg chg="add mod">
          <ac:chgData name="Pierugo Pace" userId="2226acec-25d1-48aa-b467-65eac8578bef" providerId="ADAL" clId="{C473F347-30E6-4F99-BD43-7C0AE76DCA8B}" dt="2024-07-05T14:03:08.748" v="5079" actId="571"/>
          <ac:spMkLst>
            <pc:docMk/>
            <pc:sldMk cId="205943383" sldId="3259"/>
            <ac:spMk id="100" creationId="{727F67C2-C64D-7CB6-8C3E-6E83133808A4}"/>
          </ac:spMkLst>
        </pc:spChg>
        <pc:spChg chg="add mod">
          <ac:chgData name="Pierugo Pace" userId="2226acec-25d1-48aa-b467-65eac8578bef" providerId="ADAL" clId="{C473F347-30E6-4F99-BD43-7C0AE76DCA8B}" dt="2024-07-05T14:33:22.758" v="5327" actId="571"/>
          <ac:spMkLst>
            <pc:docMk/>
            <pc:sldMk cId="205943383" sldId="3259"/>
            <ac:spMk id="103" creationId="{39325574-00F5-F047-29E2-B60F13F21984}"/>
          </ac:spMkLst>
        </pc:spChg>
        <pc:spChg chg="add mod">
          <ac:chgData name="Pierugo Pace" userId="2226acec-25d1-48aa-b467-65eac8578bef" providerId="ADAL" clId="{C473F347-30E6-4F99-BD43-7C0AE76DCA8B}" dt="2024-07-05T14:33:22.758" v="5327" actId="571"/>
          <ac:spMkLst>
            <pc:docMk/>
            <pc:sldMk cId="205943383" sldId="3259"/>
            <ac:spMk id="105" creationId="{29724115-5307-F867-5EC6-9399930B78CB}"/>
          </ac:spMkLst>
        </pc:spChg>
        <pc:spChg chg="add mod">
          <ac:chgData name="Pierugo Pace" userId="2226acec-25d1-48aa-b467-65eac8578bef" providerId="ADAL" clId="{C473F347-30E6-4F99-BD43-7C0AE76DCA8B}" dt="2024-07-05T14:33:22.758" v="5327" actId="571"/>
          <ac:spMkLst>
            <pc:docMk/>
            <pc:sldMk cId="205943383" sldId="3259"/>
            <ac:spMk id="106" creationId="{73F0E99B-CB9F-E7C2-5057-DA374CFFD30F}"/>
          </ac:spMkLst>
        </pc:spChg>
        <pc:spChg chg="add mod">
          <ac:chgData name="Pierugo Pace" userId="2226acec-25d1-48aa-b467-65eac8578bef" providerId="ADAL" clId="{C473F347-30E6-4F99-BD43-7C0AE76DCA8B}" dt="2024-07-05T14:33:22.758" v="5327" actId="571"/>
          <ac:spMkLst>
            <pc:docMk/>
            <pc:sldMk cId="205943383" sldId="3259"/>
            <ac:spMk id="108" creationId="{0CE2E210-7543-500F-0CBC-141CCE4B78D3}"/>
          </ac:spMkLst>
        </pc:spChg>
        <pc:spChg chg="add mod">
          <ac:chgData name="Pierugo Pace" userId="2226acec-25d1-48aa-b467-65eac8578bef" providerId="ADAL" clId="{C473F347-30E6-4F99-BD43-7C0AE76DCA8B}" dt="2024-07-05T14:03:08.748" v="5079" actId="571"/>
          <ac:spMkLst>
            <pc:docMk/>
            <pc:sldMk cId="205943383" sldId="3259"/>
            <ac:spMk id="108" creationId="{95A89DC8-30BD-871C-F65B-EE4C62DFDAD7}"/>
          </ac:spMkLst>
        </pc:spChg>
        <pc:spChg chg="add mod">
          <ac:chgData name="Pierugo Pace" userId="2226acec-25d1-48aa-b467-65eac8578bef" providerId="ADAL" clId="{C473F347-30E6-4F99-BD43-7C0AE76DCA8B}" dt="2024-07-05T14:33:22.758" v="5327" actId="571"/>
          <ac:spMkLst>
            <pc:docMk/>
            <pc:sldMk cId="205943383" sldId="3259"/>
            <ac:spMk id="109" creationId="{511305E4-3685-8648-5EF8-75A16CE0F0FC}"/>
          </ac:spMkLst>
        </pc:spChg>
        <pc:spChg chg="add mod">
          <ac:chgData name="Pierugo Pace" userId="2226acec-25d1-48aa-b467-65eac8578bef" providerId="ADAL" clId="{C473F347-30E6-4F99-BD43-7C0AE76DCA8B}" dt="2024-07-05T14:03:08.748" v="5079" actId="571"/>
          <ac:spMkLst>
            <pc:docMk/>
            <pc:sldMk cId="205943383" sldId="3259"/>
            <ac:spMk id="110" creationId="{E1A698A6-1A55-7BFA-AD00-DA8277D0ED27}"/>
          </ac:spMkLst>
        </pc:spChg>
        <pc:spChg chg="add mod">
          <ac:chgData name="Pierugo Pace" userId="2226acec-25d1-48aa-b467-65eac8578bef" providerId="ADAL" clId="{C473F347-30E6-4F99-BD43-7C0AE76DCA8B}" dt="2024-07-05T14:03:08.748" v="5079" actId="571"/>
          <ac:spMkLst>
            <pc:docMk/>
            <pc:sldMk cId="205943383" sldId="3259"/>
            <ac:spMk id="111" creationId="{53EF2ED3-E674-A269-5C6F-ACEF571DA642}"/>
          </ac:spMkLst>
        </pc:spChg>
        <pc:spChg chg="add mod">
          <ac:chgData name="Pierugo Pace" userId="2226acec-25d1-48aa-b467-65eac8578bef" providerId="ADAL" clId="{C473F347-30E6-4F99-BD43-7C0AE76DCA8B}" dt="2024-07-05T14:33:22.758" v="5327" actId="571"/>
          <ac:spMkLst>
            <pc:docMk/>
            <pc:sldMk cId="205943383" sldId="3259"/>
            <ac:spMk id="111" creationId="{5B9414F2-FC9C-B37E-E464-343993A8D4B3}"/>
          </ac:spMkLst>
        </pc:spChg>
        <pc:spChg chg="add mod">
          <ac:chgData name="Pierugo Pace" userId="2226acec-25d1-48aa-b467-65eac8578bef" providerId="ADAL" clId="{C473F347-30E6-4F99-BD43-7C0AE76DCA8B}" dt="2024-07-05T14:33:22.758" v="5327" actId="571"/>
          <ac:spMkLst>
            <pc:docMk/>
            <pc:sldMk cId="205943383" sldId="3259"/>
            <ac:spMk id="112" creationId="{E0798885-079C-AFAC-0F5F-64A929BD637A}"/>
          </ac:spMkLst>
        </pc:spChg>
        <pc:spChg chg="add mod">
          <ac:chgData name="Pierugo Pace" userId="2226acec-25d1-48aa-b467-65eac8578bef" providerId="ADAL" clId="{C473F347-30E6-4F99-BD43-7C0AE76DCA8B}" dt="2024-07-05T14:33:22.758" v="5327" actId="571"/>
          <ac:spMkLst>
            <pc:docMk/>
            <pc:sldMk cId="205943383" sldId="3259"/>
            <ac:spMk id="113" creationId="{091DC904-F0E0-7CE4-D57C-F243D168684C}"/>
          </ac:spMkLst>
        </pc:spChg>
        <pc:spChg chg="add mod">
          <ac:chgData name="Pierugo Pace" userId="2226acec-25d1-48aa-b467-65eac8578bef" providerId="ADAL" clId="{C473F347-30E6-4F99-BD43-7C0AE76DCA8B}" dt="2024-07-05T14:03:08.748" v="5079" actId="571"/>
          <ac:spMkLst>
            <pc:docMk/>
            <pc:sldMk cId="205943383" sldId="3259"/>
            <ac:spMk id="113" creationId="{7896AE52-78B0-839A-6358-DF3B2CC6E0C0}"/>
          </ac:spMkLst>
        </pc:spChg>
        <pc:spChg chg="add mod">
          <ac:chgData name="Pierugo Pace" userId="2226acec-25d1-48aa-b467-65eac8578bef" providerId="ADAL" clId="{C473F347-30E6-4F99-BD43-7C0AE76DCA8B}" dt="2024-07-05T14:33:22.758" v="5327" actId="571"/>
          <ac:spMkLst>
            <pc:docMk/>
            <pc:sldMk cId="205943383" sldId="3259"/>
            <ac:spMk id="114" creationId="{33D10865-65B3-C725-3D5A-4006F529FE51}"/>
          </ac:spMkLst>
        </pc:spChg>
        <pc:spChg chg="add mod">
          <ac:chgData name="Pierugo Pace" userId="2226acec-25d1-48aa-b467-65eac8578bef" providerId="ADAL" clId="{C473F347-30E6-4F99-BD43-7C0AE76DCA8B}" dt="2024-07-05T14:03:08.748" v="5079" actId="571"/>
          <ac:spMkLst>
            <pc:docMk/>
            <pc:sldMk cId="205943383" sldId="3259"/>
            <ac:spMk id="114" creationId="{CBEBD1DF-E24D-384A-4F22-AB8BF6D3D9F0}"/>
          </ac:spMkLst>
        </pc:spChg>
        <pc:spChg chg="add mod">
          <ac:chgData name="Pierugo Pace" userId="2226acec-25d1-48aa-b467-65eac8578bef" providerId="ADAL" clId="{C473F347-30E6-4F99-BD43-7C0AE76DCA8B}" dt="2024-07-05T14:03:08.748" v="5079" actId="571"/>
          <ac:spMkLst>
            <pc:docMk/>
            <pc:sldMk cId="205943383" sldId="3259"/>
            <ac:spMk id="116" creationId="{E285FC40-6703-0166-9ED0-4B66743A2506}"/>
          </ac:spMkLst>
        </pc:spChg>
        <pc:spChg chg="add mod">
          <ac:chgData name="Pierugo Pace" userId="2226acec-25d1-48aa-b467-65eac8578bef" providerId="ADAL" clId="{C473F347-30E6-4F99-BD43-7C0AE76DCA8B}" dt="2024-07-05T14:03:08.748" v="5079" actId="571"/>
          <ac:spMkLst>
            <pc:docMk/>
            <pc:sldMk cId="205943383" sldId="3259"/>
            <ac:spMk id="117" creationId="{87BA32BE-0D81-0FED-BDFC-217B8424476B}"/>
          </ac:spMkLst>
        </pc:spChg>
        <pc:spChg chg="add mod">
          <ac:chgData name="Pierugo Pace" userId="2226acec-25d1-48aa-b467-65eac8578bef" providerId="ADAL" clId="{C473F347-30E6-4F99-BD43-7C0AE76DCA8B}" dt="2024-07-05T14:33:22.758" v="5327" actId="571"/>
          <ac:spMkLst>
            <pc:docMk/>
            <pc:sldMk cId="205943383" sldId="3259"/>
            <ac:spMk id="117" creationId="{F7270DD8-B718-11EB-60B5-9B01C7D83051}"/>
          </ac:spMkLst>
        </pc:spChg>
        <pc:spChg chg="add del mod topLvl">
          <ac:chgData name="Pierugo Pace" userId="2226acec-25d1-48aa-b467-65eac8578bef" providerId="ADAL" clId="{C473F347-30E6-4F99-BD43-7C0AE76DCA8B}" dt="2024-07-05T14:29:46.307" v="5285" actId="478"/>
          <ac:spMkLst>
            <pc:docMk/>
            <pc:sldMk cId="205943383" sldId="3259"/>
            <ac:spMk id="118" creationId="{481F6690-97DE-E5A5-9E50-1FEC7C9E9A78}"/>
          </ac:spMkLst>
        </pc:spChg>
        <pc:spChg chg="add mod topLvl">
          <ac:chgData name="Pierugo Pace" userId="2226acec-25d1-48aa-b467-65eac8578bef" providerId="ADAL" clId="{C473F347-30E6-4F99-BD43-7C0AE76DCA8B}" dt="2024-07-08T08:21:01.783" v="6481" actId="571"/>
          <ac:spMkLst>
            <pc:docMk/>
            <pc:sldMk cId="205943383" sldId="3259"/>
            <ac:spMk id="119" creationId="{9850D44B-D043-0C71-4CAA-841319C53AE2}"/>
          </ac:spMkLst>
        </pc:spChg>
        <pc:spChg chg="add del mod topLvl">
          <ac:chgData name="Pierugo Pace" userId="2226acec-25d1-48aa-b467-65eac8578bef" providerId="ADAL" clId="{C473F347-30E6-4F99-BD43-7C0AE76DCA8B}" dt="2024-07-05T14:29:50.923" v="5287" actId="478"/>
          <ac:spMkLst>
            <pc:docMk/>
            <pc:sldMk cId="205943383" sldId="3259"/>
            <ac:spMk id="120" creationId="{5EBCFB3F-C664-5486-1F59-4A1909E47E3F}"/>
          </ac:spMkLst>
        </pc:spChg>
        <pc:spChg chg="add mod topLvl">
          <ac:chgData name="Pierugo Pace" userId="2226acec-25d1-48aa-b467-65eac8578bef" providerId="ADAL" clId="{C473F347-30E6-4F99-BD43-7C0AE76DCA8B}" dt="2024-07-08T08:21:01.783" v="6481" actId="571"/>
          <ac:spMkLst>
            <pc:docMk/>
            <pc:sldMk cId="205943383" sldId="3259"/>
            <ac:spMk id="121" creationId="{3018A7FE-9EA2-8D91-3804-98F8E7762D28}"/>
          </ac:spMkLst>
        </pc:spChg>
        <pc:spChg chg="add mod topLvl">
          <ac:chgData name="Pierugo Pace" userId="2226acec-25d1-48aa-b467-65eac8578bef" providerId="ADAL" clId="{C473F347-30E6-4F99-BD43-7C0AE76DCA8B}" dt="2024-07-08T08:21:01.783" v="6481" actId="571"/>
          <ac:spMkLst>
            <pc:docMk/>
            <pc:sldMk cId="205943383" sldId="3259"/>
            <ac:spMk id="124" creationId="{BA0D3270-998C-89C6-B7B6-E5198828A989}"/>
          </ac:spMkLst>
        </pc:spChg>
        <pc:spChg chg="add mod topLvl">
          <ac:chgData name="Pierugo Pace" userId="2226acec-25d1-48aa-b467-65eac8578bef" providerId="ADAL" clId="{C473F347-30E6-4F99-BD43-7C0AE76DCA8B}" dt="2024-07-24T13:46:22.384" v="9167" actId="1076"/>
          <ac:spMkLst>
            <pc:docMk/>
            <pc:sldMk cId="205943383" sldId="3259"/>
            <ac:spMk id="126" creationId="{40A7B879-0140-4829-D948-8A778BFED56A}"/>
          </ac:spMkLst>
        </pc:spChg>
        <pc:spChg chg="add mod topLvl">
          <ac:chgData name="Pierugo Pace" userId="2226acec-25d1-48aa-b467-65eac8578bef" providerId="ADAL" clId="{C473F347-30E6-4F99-BD43-7C0AE76DCA8B}" dt="2024-07-08T08:21:01.783" v="6481" actId="571"/>
          <ac:spMkLst>
            <pc:docMk/>
            <pc:sldMk cId="205943383" sldId="3259"/>
            <ac:spMk id="127" creationId="{CC2A1F1A-6026-BCB6-3BC6-93F282746A5A}"/>
          </ac:spMkLst>
        </pc:spChg>
        <pc:spChg chg="add mod topLvl">
          <ac:chgData name="Pierugo Pace" userId="2226acec-25d1-48aa-b467-65eac8578bef" providerId="ADAL" clId="{C473F347-30E6-4F99-BD43-7C0AE76DCA8B}" dt="2024-07-08T08:21:01.783" v="6481" actId="571"/>
          <ac:spMkLst>
            <pc:docMk/>
            <pc:sldMk cId="205943383" sldId="3259"/>
            <ac:spMk id="129" creationId="{10E13B05-9F45-7E20-92E1-8C9EEE155BCF}"/>
          </ac:spMkLst>
        </pc:spChg>
        <pc:spChg chg="add mod topLvl">
          <ac:chgData name="Pierugo Pace" userId="2226acec-25d1-48aa-b467-65eac8578bef" providerId="ADAL" clId="{C473F347-30E6-4F99-BD43-7C0AE76DCA8B}" dt="2024-07-08T08:21:01.783" v="6481" actId="571"/>
          <ac:spMkLst>
            <pc:docMk/>
            <pc:sldMk cId="205943383" sldId="3259"/>
            <ac:spMk id="130" creationId="{C862A2AA-547C-8AAC-F472-426A60367883}"/>
          </ac:spMkLst>
        </pc:spChg>
        <pc:spChg chg="add mod topLvl">
          <ac:chgData name="Pierugo Pace" userId="2226acec-25d1-48aa-b467-65eac8578bef" providerId="ADAL" clId="{C473F347-30E6-4F99-BD43-7C0AE76DCA8B}" dt="2024-07-08T08:21:01.783" v="6481" actId="571"/>
          <ac:spMkLst>
            <pc:docMk/>
            <pc:sldMk cId="205943383" sldId="3259"/>
            <ac:spMk id="132" creationId="{20C72002-9645-3904-D97E-C0F768209A58}"/>
          </ac:spMkLst>
        </pc:spChg>
        <pc:spChg chg="add mod topLvl">
          <ac:chgData name="Pierugo Pace" userId="2226acec-25d1-48aa-b467-65eac8578bef" providerId="ADAL" clId="{C473F347-30E6-4F99-BD43-7C0AE76DCA8B}" dt="2024-07-08T08:21:01.783" v="6481" actId="571"/>
          <ac:spMkLst>
            <pc:docMk/>
            <pc:sldMk cId="205943383" sldId="3259"/>
            <ac:spMk id="133" creationId="{ED613F28-675B-8E23-E82D-870DCC24E98E}"/>
          </ac:spMkLst>
        </pc:spChg>
        <pc:spChg chg="add mod">
          <ac:chgData name="Pierugo Pace" userId="2226acec-25d1-48aa-b467-65eac8578bef" providerId="ADAL" clId="{C473F347-30E6-4F99-BD43-7C0AE76DCA8B}" dt="2024-07-05T14:03:32.382" v="5082" actId="571"/>
          <ac:spMkLst>
            <pc:docMk/>
            <pc:sldMk cId="205943383" sldId="3259"/>
            <ac:spMk id="134" creationId="{85AA13E7-EB5A-0383-97AF-0EA03A021608}"/>
          </ac:spMkLst>
        </pc:spChg>
        <pc:spChg chg="add mod">
          <ac:chgData name="Pierugo Pace" userId="2226acec-25d1-48aa-b467-65eac8578bef" providerId="ADAL" clId="{C473F347-30E6-4F99-BD43-7C0AE76DCA8B}" dt="2024-07-05T14:33:22.758" v="5327" actId="571"/>
          <ac:spMkLst>
            <pc:docMk/>
            <pc:sldMk cId="205943383" sldId="3259"/>
            <ac:spMk id="135" creationId="{11533B8E-5B16-D1BE-1E20-A105BF6F316E}"/>
          </ac:spMkLst>
        </pc:spChg>
        <pc:spChg chg="add mod">
          <ac:chgData name="Pierugo Pace" userId="2226acec-25d1-48aa-b467-65eac8578bef" providerId="ADAL" clId="{C473F347-30E6-4F99-BD43-7C0AE76DCA8B}" dt="2024-07-05T14:03:32.382" v="5082" actId="571"/>
          <ac:spMkLst>
            <pc:docMk/>
            <pc:sldMk cId="205943383" sldId="3259"/>
            <ac:spMk id="135" creationId="{7514B7D0-2261-D1BA-52B8-A04A9E8AA246}"/>
          </ac:spMkLst>
        </pc:spChg>
        <pc:spChg chg="add mod">
          <ac:chgData name="Pierugo Pace" userId="2226acec-25d1-48aa-b467-65eac8578bef" providerId="ADAL" clId="{C473F347-30E6-4F99-BD43-7C0AE76DCA8B}" dt="2024-07-05T14:03:32.382" v="5082" actId="571"/>
          <ac:spMkLst>
            <pc:docMk/>
            <pc:sldMk cId="205943383" sldId="3259"/>
            <ac:spMk id="136" creationId="{E9931EC7-4CA5-D8B4-1E67-F38417173CED}"/>
          </ac:spMkLst>
        </pc:spChg>
        <pc:spChg chg="add mod">
          <ac:chgData name="Pierugo Pace" userId="2226acec-25d1-48aa-b467-65eac8578bef" providerId="ADAL" clId="{C473F347-30E6-4F99-BD43-7C0AE76DCA8B}" dt="2024-07-05T14:03:32.382" v="5082" actId="571"/>
          <ac:spMkLst>
            <pc:docMk/>
            <pc:sldMk cId="205943383" sldId="3259"/>
            <ac:spMk id="137" creationId="{6B0D7E15-B41F-3C00-AC92-CA5CA1D457D8}"/>
          </ac:spMkLst>
        </pc:spChg>
        <pc:spChg chg="add mod">
          <ac:chgData name="Pierugo Pace" userId="2226acec-25d1-48aa-b467-65eac8578bef" providerId="ADAL" clId="{C473F347-30E6-4F99-BD43-7C0AE76DCA8B}" dt="2024-07-05T14:33:22.758" v="5327" actId="571"/>
          <ac:spMkLst>
            <pc:docMk/>
            <pc:sldMk cId="205943383" sldId="3259"/>
            <ac:spMk id="137" creationId="{E0CFF75B-EF5A-8D16-7CD7-060ABAD57AAD}"/>
          </ac:spMkLst>
        </pc:spChg>
        <pc:spChg chg="add mod">
          <ac:chgData name="Pierugo Pace" userId="2226acec-25d1-48aa-b467-65eac8578bef" providerId="ADAL" clId="{C473F347-30E6-4F99-BD43-7C0AE76DCA8B}" dt="2024-07-05T14:33:22.758" v="5327" actId="571"/>
          <ac:spMkLst>
            <pc:docMk/>
            <pc:sldMk cId="205943383" sldId="3259"/>
            <ac:spMk id="138" creationId="{9633BB15-563D-C104-BAB4-C3094F0127BD}"/>
          </ac:spMkLst>
        </pc:spChg>
        <pc:spChg chg="add mod">
          <ac:chgData name="Pierugo Pace" userId="2226acec-25d1-48aa-b467-65eac8578bef" providerId="ADAL" clId="{C473F347-30E6-4F99-BD43-7C0AE76DCA8B}" dt="2024-07-05T14:03:32.382" v="5082" actId="571"/>
          <ac:spMkLst>
            <pc:docMk/>
            <pc:sldMk cId="205943383" sldId="3259"/>
            <ac:spMk id="140" creationId="{1C16F8F5-750A-DFBD-D100-60D0ADE85E30}"/>
          </ac:spMkLst>
        </pc:spChg>
        <pc:spChg chg="add mod">
          <ac:chgData name="Pierugo Pace" userId="2226acec-25d1-48aa-b467-65eac8578bef" providerId="ADAL" clId="{C473F347-30E6-4F99-BD43-7C0AE76DCA8B}" dt="2024-07-05T14:33:22.758" v="5327" actId="571"/>
          <ac:spMkLst>
            <pc:docMk/>
            <pc:sldMk cId="205943383" sldId="3259"/>
            <ac:spMk id="140" creationId="{921C62DD-1856-981E-F0EF-F7946EC6F87F}"/>
          </ac:spMkLst>
        </pc:spChg>
        <pc:spChg chg="add mod">
          <ac:chgData name="Pierugo Pace" userId="2226acec-25d1-48aa-b467-65eac8578bef" providerId="ADAL" clId="{C473F347-30E6-4F99-BD43-7C0AE76DCA8B}" dt="2024-07-05T14:33:22.758" v="5327" actId="571"/>
          <ac:spMkLst>
            <pc:docMk/>
            <pc:sldMk cId="205943383" sldId="3259"/>
            <ac:spMk id="141" creationId="{43814B7A-741F-DD7B-6B7E-9FF12BAAB328}"/>
          </ac:spMkLst>
        </pc:spChg>
        <pc:spChg chg="add mod">
          <ac:chgData name="Pierugo Pace" userId="2226acec-25d1-48aa-b467-65eac8578bef" providerId="ADAL" clId="{C473F347-30E6-4F99-BD43-7C0AE76DCA8B}" dt="2024-07-05T14:33:22.758" v="5327" actId="571"/>
          <ac:spMkLst>
            <pc:docMk/>
            <pc:sldMk cId="205943383" sldId="3259"/>
            <ac:spMk id="142" creationId="{38C3D007-59A3-4DA1-D94A-E2F5E5D01B11}"/>
          </ac:spMkLst>
        </pc:spChg>
        <pc:spChg chg="add mod">
          <ac:chgData name="Pierugo Pace" userId="2226acec-25d1-48aa-b467-65eac8578bef" providerId="ADAL" clId="{C473F347-30E6-4F99-BD43-7C0AE76DCA8B}" dt="2024-07-05T14:03:32.382" v="5082" actId="571"/>
          <ac:spMkLst>
            <pc:docMk/>
            <pc:sldMk cId="205943383" sldId="3259"/>
            <ac:spMk id="142" creationId="{677BE2F1-ABAF-3F73-A2EF-A6ED973F6CD0}"/>
          </ac:spMkLst>
        </pc:spChg>
        <pc:spChg chg="add mod">
          <ac:chgData name="Pierugo Pace" userId="2226acec-25d1-48aa-b467-65eac8578bef" providerId="ADAL" clId="{C473F347-30E6-4F99-BD43-7C0AE76DCA8B}" dt="2024-07-05T14:03:32.382" v="5082" actId="571"/>
          <ac:spMkLst>
            <pc:docMk/>
            <pc:sldMk cId="205943383" sldId="3259"/>
            <ac:spMk id="143" creationId="{18EFF773-0C98-3F57-8A27-19B088C88A77}"/>
          </ac:spMkLst>
        </pc:spChg>
        <pc:spChg chg="add mod">
          <ac:chgData name="Pierugo Pace" userId="2226acec-25d1-48aa-b467-65eac8578bef" providerId="ADAL" clId="{C473F347-30E6-4F99-BD43-7C0AE76DCA8B}" dt="2024-07-05T14:33:22.758" v="5327" actId="571"/>
          <ac:spMkLst>
            <pc:docMk/>
            <pc:sldMk cId="205943383" sldId="3259"/>
            <ac:spMk id="143" creationId="{D487CE53-292D-48FC-777D-703337FF6BA3}"/>
          </ac:spMkLst>
        </pc:spChg>
        <pc:spChg chg="add mod">
          <ac:chgData name="Pierugo Pace" userId="2226acec-25d1-48aa-b467-65eac8578bef" providerId="ADAL" clId="{C473F347-30E6-4F99-BD43-7C0AE76DCA8B}" dt="2024-07-05T14:33:22.758" v="5327" actId="571"/>
          <ac:spMkLst>
            <pc:docMk/>
            <pc:sldMk cId="205943383" sldId="3259"/>
            <ac:spMk id="144" creationId="{0C1963C9-9288-4D4C-82CA-AE4ED9265EC4}"/>
          </ac:spMkLst>
        </pc:spChg>
        <pc:spChg chg="add mod">
          <ac:chgData name="Pierugo Pace" userId="2226acec-25d1-48aa-b467-65eac8578bef" providerId="ADAL" clId="{C473F347-30E6-4F99-BD43-7C0AE76DCA8B}" dt="2024-07-05T14:03:32.382" v="5082" actId="571"/>
          <ac:spMkLst>
            <pc:docMk/>
            <pc:sldMk cId="205943383" sldId="3259"/>
            <ac:spMk id="145" creationId="{A29C3C1B-DEE1-CE29-D8D6-C1981CB87DE7}"/>
          </ac:spMkLst>
        </pc:spChg>
        <pc:spChg chg="add mod">
          <ac:chgData name="Pierugo Pace" userId="2226acec-25d1-48aa-b467-65eac8578bef" providerId="ADAL" clId="{C473F347-30E6-4F99-BD43-7C0AE76DCA8B}" dt="2024-07-05T14:33:22.758" v="5327" actId="571"/>
          <ac:spMkLst>
            <pc:docMk/>
            <pc:sldMk cId="205943383" sldId="3259"/>
            <ac:spMk id="145" creationId="{A7755B5E-3827-CB66-1394-232198BE3553}"/>
          </ac:spMkLst>
        </pc:spChg>
        <pc:spChg chg="add mod">
          <ac:chgData name="Pierugo Pace" userId="2226acec-25d1-48aa-b467-65eac8578bef" providerId="ADAL" clId="{C473F347-30E6-4F99-BD43-7C0AE76DCA8B}" dt="2024-07-05T14:03:32.382" v="5082" actId="571"/>
          <ac:spMkLst>
            <pc:docMk/>
            <pc:sldMk cId="205943383" sldId="3259"/>
            <ac:spMk id="146" creationId="{1784F8D6-3E14-6D8A-6F4E-190795697254}"/>
          </ac:spMkLst>
        </pc:spChg>
        <pc:spChg chg="add mod">
          <ac:chgData name="Pierugo Pace" userId="2226acec-25d1-48aa-b467-65eac8578bef" providerId="ADAL" clId="{C473F347-30E6-4F99-BD43-7C0AE76DCA8B}" dt="2024-07-05T14:33:22.758" v="5327" actId="571"/>
          <ac:spMkLst>
            <pc:docMk/>
            <pc:sldMk cId="205943383" sldId="3259"/>
            <ac:spMk id="146" creationId="{51EDB3C9-5E70-5E2E-1C3D-3496F7A17978}"/>
          </ac:spMkLst>
        </pc:spChg>
        <pc:spChg chg="add mod">
          <ac:chgData name="Pierugo Pace" userId="2226acec-25d1-48aa-b467-65eac8578bef" providerId="ADAL" clId="{C473F347-30E6-4F99-BD43-7C0AE76DCA8B}" dt="2024-07-05T14:33:22.758" v="5327" actId="571"/>
          <ac:spMkLst>
            <pc:docMk/>
            <pc:sldMk cId="205943383" sldId="3259"/>
            <ac:spMk id="147" creationId="{6AD5FD7F-62E3-B4B2-409E-EDC285F74288}"/>
          </ac:spMkLst>
        </pc:spChg>
        <pc:spChg chg="add 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148" creationId="{1651452B-C62E-CABD-3FC3-FBEF6591BB7D}"/>
          </ac:spMkLst>
        </pc:spChg>
        <pc:spChg chg="add mod">
          <ac:chgData name="Pierugo Pace" userId="2226acec-25d1-48aa-b467-65eac8578bef" providerId="ADAL" clId="{C473F347-30E6-4F99-BD43-7C0AE76DCA8B}" dt="2024-07-05T14:03:32.382" v="5082" actId="571"/>
          <ac:spMkLst>
            <pc:docMk/>
            <pc:sldMk cId="205943383" sldId="3259"/>
            <ac:spMk id="148" creationId="{272BD23C-9816-21D9-BEF3-4ADA3157E2C2}"/>
          </ac:spMkLst>
        </pc:spChg>
        <pc:spChg chg="add mod">
          <ac:chgData name="Pierugo Pace" userId="2226acec-25d1-48aa-b467-65eac8578bef" providerId="ADAL" clId="{C473F347-30E6-4F99-BD43-7C0AE76DCA8B}" dt="2024-07-05T14:03:32.382" v="5082" actId="571"/>
          <ac:spMkLst>
            <pc:docMk/>
            <pc:sldMk cId="205943383" sldId="3259"/>
            <ac:spMk id="149" creationId="{912E626C-8F4A-3717-CEFA-D3FE1D07195D}"/>
          </ac:spMkLst>
        </pc:spChg>
        <pc:spChg chg="add 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149" creationId="{DBAB9D8A-ABD1-C4AF-F0A7-6FD803358840}"/>
          </ac:spMkLst>
        </pc:spChg>
        <pc:spChg chg="add 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155" creationId="{40C82B2F-DDF4-3098-C854-E7F3BE0AFAA8}"/>
          </ac:spMkLst>
        </pc:spChg>
        <pc:spChg chg="add 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157" creationId="{52EA0199-77E7-66AE-EB19-8E4E3C6838DF}"/>
          </ac:spMkLst>
        </pc:spChg>
        <pc:spChg chg="add 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158" creationId="{6854BAB2-EBB7-4D2A-0240-83F96F7CA854}"/>
          </ac:spMkLst>
        </pc:spChg>
        <pc:spChg chg="add 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161" creationId="{23B3C8EC-2A77-13FA-86C0-43697F85E0D0}"/>
          </ac:spMkLst>
        </pc:spChg>
        <pc:spChg chg="add 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162" creationId="{7DC6DCA9-E439-0500-2A0F-5326CE9D97FE}"/>
          </ac:spMkLst>
        </pc:spChg>
        <pc:spChg chg="add 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164" creationId="{75650F67-3F4C-71BE-F2D9-4600139F6402}"/>
          </ac:spMkLst>
        </pc:spChg>
        <pc:spChg chg="add 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165" creationId="{C1F1C0E3-1D5B-E876-0C1E-5A514662F049}"/>
          </ac:spMkLst>
        </pc:spChg>
        <pc:spChg chg="add del mod topLvl">
          <ac:chgData name="Pierugo Pace" userId="2226acec-25d1-48aa-b467-65eac8578bef" providerId="ADAL" clId="{C473F347-30E6-4F99-BD43-7C0AE76DCA8B}" dt="2024-07-05T14:35:55.652" v="5361" actId="478"/>
          <ac:spMkLst>
            <pc:docMk/>
            <pc:sldMk cId="205943383" sldId="3259"/>
            <ac:spMk id="166" creationId="{1E3D8B01-6179-DA20-CEFF-6F41114F474B}"/>
          </ac:spMkLst>
        </pc:spChg>
        <pc:spChg chg="add del mod topLvl">
          <ac:chgData name="Pierugo Pace" userId="2226acec-25d1-48aa-b467-65eac8578bef" providerId="ADAL" clId="{C473F347-30E6-4F99-BD43-7C0AE76DCA8B}" dt="2024-07-05T14:35:55.652" v="5361" actId="478"/>
          <ac:spMkLst>
            <pc:docMk/>
            <pc:sldMk cId="205943383" sldId="3259"/>
            <ac:spMk id="167" creationId="{19B82B34-9430-4287-C0A5-D5352B6491F2}"/>
          </ac:spMkLst>
        </pc:spChg>
        <pc:spChg chg="add mod topLvl">
          <ac:chgData name="Pierugo Pace" userId="2226acec-25d1-48aa-b467-65eac8578bef" providerId="ADAL" clId="{C473F347-30E6-4F99-BD43-7C0AE76DCA8B}" dt="2024-07-08T08:21:01.783" v="6481" actId="571"/>
          <ac:spMkLst>
            <pc:docMk/>
            <pc:sldMk cId="205943383" sldId="3259"/>
            <ac:spMk id="170" creationId="{85A14214-4042-EDFA-8362-FBBFC606A2CE}"/>
          </ac:spMkLst>
        </pc:spChg>
        <pc:spChg chg="add del mod topLvl">
          <ac:chgData name="Pierugo Pace" userId="2226acec-25d1-48aa-b467-65eac8578bef" providerId="ADAL" clId="{C473F347-30E6-4F99-BD43-7C0AE76DCA8B}" dt="2024-07-05T14:35:55.652" v="5361" actId="478"/>
          <ac:spMkLst>
            <pc:docMk/>
            <pc:sldMk cId="205943383" sldId="3259"/>
            <ac:spMk id="171" creationId="{7729319C-7853-A373-FA07-373556B5C7C2}"/>
          </ac:spMkLst>
        </pc:spChg>
        <pc:spChg chg="add del mod topLvl">
          <ac:chgData name="Pierugo Pace" userId="2226acec-25d1-48aa-b467-65eac8578bef" providerId="ADAL" clId="{C473F347-30E6-4F99-BD43-7C0AE76DCA8B}" dt="2024-07-05T14:35:55.652" v="5361" actId="478"/>
          <ac:spMkLst>
            <pc:docMk/>
            <pc:sldMk cId="205943383" sldId="3259"/>
            <ac:spMk id="173" creationId="{8B6A7F5A-49DC-8A0A-E2EE-50CD10FFCACF}"/>
          </ac:spMkLst>
        </pc:spChg>
        <pc:spChg chg="add del mod topLvl">
          <ac:chgData name="Pierugo Pace" userId="2226acec-25d1-48aa-b467-65eac8578bef" providerId="ADAL" clId="{C473F347-30E6-4F99-BD43-7C0AE76DCA8B}" dt="2024-07-05T14:35:55.652" v="5361" actId="478"/>
          <ac:spMkLst>
            <pc:docMk/>
            <pc:sldMk cId="205943383" sldId="3259"/>
            <ac:spMk id="175" creationId="{05088A68-DB38-D6CE-AC83-758C1FAAA275}"/>
          </ac:spMkLst>
        </pc:spChg>
        <pc:spChg chg="add del mod topLvl">
          <ac:chgData name="Pierugo Pace" userId="2226acec-25d1-48aa-b467-65eac8578bef" providerId="ADAL" clId="{C473F347-30E6-4F99-BD43-7C0AE76DCA8B}" dt="2024-07-05T14:35:55.652" v="5361" actId="478"/>
          <ac:spMkLst>
            <pc:docMk/>
            <pc:sldMk cId="205943383" sldId="3259"/>
            <ac:spMk id="176" creationId="{2574EBB0-2692-3B65-556C-F2B418AB70EB}"/>
          </ac:spMkLst>
        </pc:spChg>
        <pc:spChg chg="add del mod topLvl">
          <ac:chgData name="Pierugo Pace" userId="2226acec-25d1-48aa-b467-65eac8578bef" providerId="ADAL" clId="{C473F347-30E6-4F99-BD43-7C0AE76DCA8B}" dt="2024-07-05T14:35:55.652" v="5361" actId="478"/>
          <ac:spMkLst>
            <pc:docMk/>
            <pc:sldMk cId="205943383" sldId="3259"/>
            <ac:spMk id="178" creationId="{8F539E4C-0158-4C10-5D58-2342C79F68AE}"/>
          </ac:spMkLst>
        </pc:spChg>
        <pc:spChg chg="add del mod topLvl">
          <ac:chgData name="Pierugo Pace" userId="2226acec-25d1-48aa-b467-65eac8578bef" providerId="ADAL" clId="{C473F347-30E6-4F99-BD43-7C0AE76DCA8B}" dt="2024-07-05T14:35:55.652" v="5361" actId="478"/>
          <ac:spMkLst>
            <pc:docMk/>
            <pc:sldMk cId="205943383" sldId="3259"/>
            <ac:spMk id="179" creationId="{EE7A8B48-E17C-3E4B-E697-CDE085BD38AD}"/>
          </ac:spMkLst>
        </pc:spChg>
        <pc:spChg chg="add 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180" creationId="{3B4AB294-DB9E-4C7C-4A9F-4E01730509CB}"/>
          </ac:spMkLst>
        </pc:spChg>
        <pc:spChg chg="add del mod topLvl">
          <ac:chgData name="Pierugo Pace" userId="2226acec-25d1-48aa-b467-65eac8578bef" providerId="ADAL" clId="{C473F347-30E6-4F99-BD43-7C0AE76DCA8B}" dt="2024-07-05T14:35:55.652" v="5361" actId="478"/>
          <ac:spMkLst>
            <pc:docMk/>
            <pc:sldMk cId="205943383" sldId="3259"/>
            <ac:spMk id="181" creationId="{EAF601CB-66F7-924A-33C2-7E50D19CEEF0}"/>
          </ac:spMkLst>
        </pc:spChg>
        <pc:spChg chg="add 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182" creationId="{09503259-9F47-0512-3AE6-B37C4221A1B4}"/>
          </ac:spMkLst>
        </pc:spChg>
        <pc:spChg chg="add del mod topLvl">
          <ac:chgData name="Pierugo Pace" userId="2226acec-25d1-48aa-b467-65eac8578bef" providerId="ADAL" clId="{C473F347-30E6-4F99-BD43-7C0AE76DCA8B}" dt="2024-07-05T14:35:55.652" v="5361" actId="478"/>
          <ac:spMkLst>
            <pc:docMk/>
            <pc:sldMk cId="205943383" sldId="3259"/>
            <ac:spMk id="183" creationId="{D0554E8F-772C-6295-AA2C-FB3E836F9B83}"/>
          </ac:spMkLst>
        </pc:spChg>
        <pc:spChg chg="add del mod topLvl">
          <ac:chgData name="Pierugo Pace" userId="2226acec-25d1-48aa-b467-65eac8578bef" providerId="ADAL" clId="{C473F347-30E6-4F99-BD43-7C0AE76DCA8B}" dt="2024-07-05T14:35:55.652" v="5361" actId="478"/>
          <ac:spMkLst>
            <pc:docMk/>
            <pc:sldMk cId="205943383" sldId="3259"/>
            <ac:spMk id="184" creationId="{D3C06DC2-8D3C-B113-7DDD-BA1DF2778C23}"/>
          </ac:spMkLst>
        </pc:spChg>
        <pc:spChg chg="add del mod topLvl">
          <ac:chgData name="Pierugo Pace" userId="2226acec-25d1-48aa-b467-65eac8578bef" providerId="ADAL" clId="{C473F347-30E6-4F99-BD43-7C0AE76DCA8B}" dt="2024-07-05T14:35:56.989" v="5362" actId="478"/>
          <ac:spMkLst>
            <pc:docMk/>
            <pc:sldMk cId="205943383" sldId="3259"/>
            <ac:spMk id="185" creationId="{635BCC56-EEB9-260E-2B88-BB971F5FC515}"/>
          </ac:spMkLst>
        </pc:spChg>
        <pc:spChg chg="add del mod">
          <ac:chgData name="Pierugo Pace" userId="2226acec-25d1-48aa-b467-65eac8578bef" providerId="ADAL" clId="{C473F347-30E6-4F99-BD43-7C0AE76DCA8B}" dt="2024-07-05T14:38:28.571" v="5426" actId="478"/>
          <ac:spMkLst>
            <pc:docMk/>
            <pc:sldMk cId="205943383" sldId="3259"/>
            <ac:spMk id="202" creationId="{D705F632-A042-8F38-CA2C-A5534B561CA4}"/>
          </ac:spMkLst>
        </pc:spChg>
        <pc:spChg chg="add mod">
          <ac:chgData name="Pierugo Pace" userId="2226acec-25d1-48aa-b467-65eac8578bef" providerId="ADAL" clId="{C473F347-30E6-4F99-BD43-7C0AE76DCA8B}" dt="2024-07-08T08:21:01.783" v="6481" actId="571"/>
          <ac:spMkLst>
            <pc:docMk/>
            <pc:sldMk cId="205943383" sldId="3259"/>
            <ac:spMk id="203" creationId="{377792FC-2DC9-ED8A-B9F7-1F1FF0F3AA84}"/>
          </ac:spMkLst>
        </pc:spChg>
        <pc:spChg chg="add mod topLvl">
          <ac:chgData name="Pierugo Pace" userId="2226acec-25d1-48aa-b467-65eac8578bef" providerId="ADAL" clId="{C473F347-30E6-4F99-BD43-7C0AE76DCA8B}" dt="2024-07-24T14:04:50.989" v="10055" actId="20577"/>
          <ac:spMkLst>
            <pc:docMk/>
            <pc:sldMk cId="205943383" sldId="3259"/>
            <ac:spMk id="204" creationId="{989E6ACB-B60A-C461-F689-8C988D89530B}"/>
          </ac:spMkLst>
        </pc:spChg>
        <pc:grpChg chg="add del mod">
          <ac:chgData name="Pierugo Pace" userId="2226acec-25d1-48aa-b467-65eac8578bef" providerId="ADAL" clId="{C473F347-30E6-4F99-BD43-7C0AE76DCA8B}" dt="2024-07-08T08:15:53.523" v="6384" actId="165"/>
          <ac:grpSpMkLst>
            <pc:docMk/>
            <pc:sldMk cId="205943383" sldId="3259"/>
            <ac:grpSpMk id="7" creationId="{E85396AD-1126-FF94-7792-7038BF657213}"/>
          </ac:grpSpMkLst>
        </pc:grpChg>
        <pc:grpChg chg="add mod">
          <ac:chgData name="Pierugo Pace" userId="2226acec-25d1-48aa-b467-65eac8578bef" providerId="ADAL" clId="{C473F347-30E6-4F99-BD43-7C0AE76DCA8B}" dt="2024-07-05T14:00:53.482" v="4981" actId="1076"/>
          <ac:grpSpMkLst>
            <pc:docMk/>
            <pc:sldMk cId="205943383" sldId="3259"/>
            <ac:grpSpMk id="9" creationId="{9C61C107-1D87-E21D-DCC4-7CCDFEB49515}"/>
          </ac:grpSpMkLst>
        </pc:grpChg>
        <pc:grpChg chg="add mod">
          <ac:chgData name="Pierugo Pace" userId="2226acec-25d1-48aa-b467-65eac8578bef" providerId="ADAL" clId="{C473F347-30E6-4F99-BD43-7C0AE76DCA8B}" dt="2024-07-08T08:21:01.783" v="6481" actId="571"/>
          <ac:grpSpMkLst>
            <pc:docMk/>
            <pc:sldMk cId="205943383" sldId="3259"/>
            <ac:grpSpMk id="35" creationId="{760F150E-85C3-7AC2-CFBE-4D0FF9E9BE88}"/>
          </ac:grpSpMkLst>
        </pc:grpChg>
        <pc:grpChg chg="add mod">
          <ac:chgData name="Pierugo Pace" userId="2226acec-25d1-48aa-b467-65eac8578bef" providerId="ADAL" clId="{C473F347-30E6-4F99-BD43-7C0AE76DCA8B}" dt="2024-07-24T14:04:50.989" v="10055" actId="20577"/>
          <ac:grpSpMkLst>
            <pc:docMk/>
            <pc:sldMk cId="205943383" sldId="3259"/>
            <ac:grpSpMk id="36" creationId="{9F5AA92F-5278-176A-C216-138EC0880E2B}"/>
          </ac:grpSpMkLst>
        </pc:grpChg>
        <pc:grpChg chg="add del mod">
          <ac:chgData name="Pierugo Pace" userId="2226acec-25d1-48aa-b467-65eac8578bef" providerId="ADAL" clId="{C473F347-30E6-4F99-BD43-7C0AE76DCA8B}" dt="2024-07-05T14:27:26.482" v="5258" actId="165"/>
          <ac:grpSpMkLst>
            <pc:docMk/>
            <pc:sldMk cId="205943383" sldId="3259"/>
            <ac:grpSpMk id="52" creationId="{9F1955E1-6AEE-BFBD-843F-FC3C17149137}"/>
          </ac:grpSpMkLst>
        </pc:grpChg>
        <pc:grpChg chg="del mod">
          <ac:chgData name="Pierugo Pace" userId="2226acec-25d1-48aa-b467-65eac8578bef" providerId="ADAL" clId="{C473F347-30E6-4F99-BD43-7C0AE76DCA8B}" dt="2024-07-05T14:02:03.977" v="5051" actId="165"/>
          <ac:grpSpMkLst>
            <pc:docMk/>
            <pc:sldMk cId="205943383" sldId="3259"/>
            <ac:grpSpMk id="104" creationId="{6F9DA5A2-C9F3-64DC-3BE8-B5485B65FCD4}"/>
          </ac:grpSpMkLst>
        </pc:grpChg>
        <pc:grpChg chg="del">
          <ac:chgData name="Pierugo Pace" userId="2226acec-25d1-48aa-b467-65eac8578bef" providerId="ADAL" clId="{C473F347-30E6-4F99-BD43-7C0AE76DCA8B}" dt="2024-07-05T13:59:38.825" v="4950" actId="478"/>
          <ac:grpSpMkLst>
            <pc:docMk/>
            <pc:sldMk cId="205943383" sldId="3259"/>
            <ac:grpSpMk id="105" creationId="{E32024C2-22CC-AFC6-58C0-56BF51DC608D}"/>
          </ac:grpSpMkLst>
        </pc:grpChg>
        <pc:grpChg chg="add del mod">
          <ac:chgData name="Pierugo Pace" userId="2226acec-25d1-48aa-b467-65eac8578bef" providerId="ADAL" clId="{C473F347-30E6-4F99-BD43-7C0AE76DCA8B}" dt="2024-07-05T14:28:05.383" v="5263" actId="165"/>
          <ac:grpSpMkLst>
            <pc:docMk/>
            <pc:sldMk cId="205943383" sldId="3259"/>
            <ac:grpSpMk id="150" creationId="{43938511-2152-3FC9-73BA-655DD1E56317}"/>
          </ac:grpSpMkLst>
        </pc:grpChg>
        <pc:grpChg chg="add del mod">
          <ac:chgData name="Pierugo Pace" userId="2226acec-25d1-48aa-b467-65eac8578bef" providerId="ADAL" clId="{C473F347-30E6-4F99-BD43-7C0AE76DCA8B}" dt="2024-07-05T14:29:34.926" v="5282" actId="165"/>
          <ac:grpSpMkLst>
            <pc:docMk/>
            <pc:sldMk cId="205943383" sldId="3259"/>
            <ac:grpSpMk id="151" creationId="{B6F2035D-BEBD-3004-E621-0AF81C4D20BC}"/>
          </ac:grpSpMkLst>
        </pc:grpChg>
        <pc:grpChg chg="add del mod">
          <ac:chgData name="Pierugo Pace" userId="2226acec-25d1-48aa-b467-65eac8578bef" providerId="ADAL" clId="{C473F347-30E6-4F99-BD43-7C0AE76DCA8B}" dt="2024-07-05T14:34:43.331" v="5338" actId="165"/>
          <ac:grpSpMkLst>
            <pc:docMk/>
            <pc:sldMk cId="205943383" sldId="3259"/>
            <ac:grpSpMk id="186" creationId="{6546F936-E1E5-2045-FCC2-17CB8880B60F}"/>
          </ac:grpSpMkLst>
        </pc:grpChg>
        <pc:cxnChg chg="add mod topLvl">
          <ac:chgData name="Pierugo Pace" userId="2226acec-25d1-48aa-b467-65eac8578bef" providerId="ADAL" clId="{C473F347-30E6-4F99-BD43-7C0AE76DCA8B}" dt="2024-07-24T14:04:50.989" v="10055" actId="20577"/>
          <ac:cxnSpMkLst>
            <pc:docMk/>
            <pc:sldMk cId="205943383" sldId="3259"/>
            <ac:cxnSpMk id="9" creationId="{74519BA2-144B-C3E1-9BB2-DED20FA734C7}"/>
          </ac:cxnSpMkLst>
        </pc:cxnChg>
        <pc:cxnChg chg="add mod topLvl">
          <ac:chgData name="Pierugo Pace" userId="2226acec-25d1-48aa-b467-65eac8578bef" providerId="ADAL" clId="{C473F347-30E6-4F99-BD43-7C0AE76DCA8B}" dt="2024-07-24T14:04:50.989" v="10055" actId="20577"/>
          <ac:cxnSpMkLst>
            <pc:docMk/>
            <pc:sldMk cId="205943383" sldId="3259"/>
            <ac:cxnSpMk id="11" creationId="{7B365049-3856-DD39-99DD-2B721A3A24EF}"/>
          </ac:cxnSpMkLst>
        </pc:cxnChg>
        <pc:cxnChg chg="mod topLvl">
          <ac:chgData name="Pierugo Pace" userId="2226acec-25d1-48aa-b467-65eac8578bef" providerId="ADAL" clId="{C473F347-30E6-4F99-BD43-7C0AE76DCA8B}" dt="2024-07-08T08:21:01.783" v="6481" actId="571"/>
          <ac:cxnSpMkLst>
            <pc:docMk/>
            <pc:sldMk cId="205943383" sldId="3259"/>
            <ac:cxnSpMk id="12" creationId="{0D8E8D01-5B70-E107-7CDE-D3E9EFB1CE7C}"/>
          </ac:cxnSpMkLst>
        </pc:cxnChg>
        <pc:cxnChg chg="add mod topLvl">
          <ac:chgData name="Pierugo Pace" userId="2226acec-25d1-48aa-b467-65eac8578bef" providerId="ADAL" clId="{C473F347-30E6-4F99-BD43-7C0AE76DCA8B}" dt="2024-07-24T14:04:50.989" v="10055" actId="20577"/>
          <ac:cxnSpMkLst>
            <pc:docMk/>
            <pc:sldMk cId="205943383" sldId="3259"/>
            <ac:cxnSpMk id="14" creationId="{E56C1ED5-0968-57FC-E5E2-63364AA0E791}"/>
          </ac:cxnSpMkLst>
        </pc:cxnChg>
        <pc:cxnChg chg="add mod topLvl">
          <ac:chgData name="Pierugo Pace" userId="2226acec-25d1-48aa-b467-65eac8578bef" providerId="ADAL" clId="{C473F347-30E6-4F99-BD43-7C0AE76DCA8B}" dt="2024-07-24T14:04:50.989" v="10055" actId="20577"/>
          <ac:cxnSpMkLst>
            <pc:docMk/>
            <pc:sldMk cId="205943383" sldId="3259"/>
            <ac:cxnSpMk id="16" creationId="{0A13E7A9-DDE7-C326-8FC5-F38729D0F26C}"/>
          </ac:cxnSpMkLst>
        </pc:cxnChg>
        <pc:cxnChg chg="mod">
          <ac:chgData name="Pierugo Pace" userId="2226acec-25d1-48aa-b467-65eac8578bef" providerId="ADAL" clId="{C473F347-30E6-4F99-BD43-7C0AE76DCA8B}" dt="2024-07-05T14:00:51.041" v="4979"/>
          <ac:cxnSpMkLst>
            <pc:docMk/>
            <pc:sldMk cId="205943383" sldId="3259"/>
            <ac:cxnSpMk id="16" creationId="{124E4CAA-0F69-2811-8837-DD27FEA6106A}"/>
          </ac:cxnSpMkLst>
        </pc:cxnChg>
        <pc:cxnChg chg="mod topLvl">
          <ac:chgData name="Pierugo Pace" userId="2226acec-25d1-48aa-b467-65eac8578bef" providerId="ADAL" clId="{C473F347-30E6-4F99-BD43-7C0AE76DCA8B}" dt="2024-07-08T08:21:01.783" v="6481" actId="571"/>
          <ac:cxnSpMkLst>
            <pc:docMk/>
            <pc:sldMk cId="205943383" sldId="3259"/>
            <ac:cxnSpMk id="21" creationId="{81F0796B-6124-575C-A049-C66EC2F76AF9}"/>
          </ac:cxnSpMkLst>
        </pc:cxnChg>
        <pc:cxnChg chg="mod topLvl">
          <ac:chgData name="Pierugo Pace" userId="2226acec-25d1-48aa-b467-65eac8578bef" providerId="ADAL" clId="{C473F347-30E6-4F99-BD43-7C0AE76DCA8B}" dt="2024-07-08T08:21:01.783" v="6481" actId="571"/>
          <ac:cxnSpMkLst>
            <pc:docMk/>
            <pc:sldMk cId="205943383" sldId="3259"/>
            <ac:cxnSpMk id="24" creationId="{03B25158-D3DC-05B9-7C4A-5801AC2860CA}"/>
          </ac:cxnSpMkLst>
        </pc:cxnChg>
        <pc:cxnChg chg="mod topLvl">
          <ac:chgData name="Pierugo Pace" userId="2226acec-25d1-48aa-b467-65eac8578bef" providerId="ADAL" clId="{C473F347-30E6-4F99-BD43-7C0AE76DCA8B}" dt="2024-07-08T08:21:01.783" v="6481" actId="571"/>
          <ac:cxnSpMkLst>
            <pc:docMk/>
            <pc:sldMk cId="205943383" sldId="3259"/>
            <ac:cxnSpMk id="25" creationId="{7F90947C-F272-B557-794F-DA861ED12964}"/>
          </ac:cxnSpMkLst>
        </pc:cxnChg>
        <pc:cxnChg chg="mod topLvl">
          <ac:chgData name="Pierugo Pace" userId="2226acec-25d1-48aa-b467-65eac8578bef" providerId="ADAL" clId="{C473F347-30E6-4F99-BD43-7C0AE76DCA8B}" dt="2024-07-08T08:21:01.783" v="6481" actId="571"/>
          <ac:cxnSpMkLst>
            <pc:docMk/>
            <pc:sldMk cId="205943383" sldId="3259"/>
            <ac:cxnSpMk id="27" creationId="{A8BF70B4-BCB8-381A-E4D5-8DC39A6DF58D}"/>
          </ac:cxnSpMkLst>
        </pc:cxnChg>
        <pc:cxnChg chg="add mod topLvl">
          <ac:chgData name="Pierugo Pace" userId="2226acec-25d1-48aa-b467-65eac8578bef" providerId="ADAL" clId="{C473F347-30E6-4F99-BD43-7C0AE76DCA8B}" dt="2024-07-24T14:04:50.989" v="10055" actId="20577"/>
          <ac:cxnSpMkLst>
            <pc:docMk/>
            <pc:sldMk cId="205943383" sldId="3259"/>
            <ac:cxnSpMk id="29" creationId="{195CCD6B-EBA2-70D7-1F0E-D9BAD7C898BC}"/>
          </ac:cxnSpMkLst>
        </pc:cxnChg>
        <pc:cxnChg chg="mod">
          <ac:chgData name="Pierugo Pace" userId="2226acec-25d1-48aa-b467-65eac8578bef" providerId="ADAL" clId="{C473F347-30E6-4F99-BD43-7C0AE76DCA8B}" dt="2024-07-05T14:00:51.041" v="4979"/>
          <ac:cxnSpMkLst>
            <pc:docMk/>
            <pc:sldMk cId="205943383" sldId="3259"/>
            <ac:cxnSpMk id="29" creationId="{A8B19FAD-8237-3FFC-EA22-B2C8BA5C8A42}"/>
          </ac:cxnSpMkLst>
        </pc:cxnChg>
        <pc:cxnChg chg="mod topLvl">
          <ac:chgData name="Pierugo Pace" userId="2226acec-25d1-48aa-b467-65eac8578bef" providerId="ADAL" clId="{C473F347-30E6-4F99-BD43-7C0AE76DCA8B}" dt="2024-07-08T08:21:01.783" v="6481" actId="571"/>
          <ac:cxnSpMkLst>
            <pc:docMk/>
            <pc:sldMk cId="205943383" sldId="3259"/>
            <ac:cxnSpMk id="31" creationId="{30CACF6F-3921-BF6C-51AE-DEB9FAF09B1A}"/>
          </ac:cxnSpMkLst>
        </pc:cxnChg>
        <pc:cxnChg chg="mod">
          <ac:chgData name="Pierugo Pace" userId="2226acec-25d1-48aa-b467-65eac8578bef" providerId="ADAL" clId="{C473F347-30E6-4F99-BD43-7C0AE76DCA8B}" dt="2024-07-05T14:00:51.041" v="4979"/>
          <ac:cxnSpMkLst>
            <pc:docMk/>
            <pc:sldMk cId="205943383" sldId="3259"/>
            <ac:cxnSpMk id="35" creationId="{3DAD8BF5-0F96-6B05-D8EB-811AA2B4D39E}"/>
          </ac:cxnSpMkLst>
        </pc:cxnChg>
        <pc:cxnChg chg="mod">
          <ac:chgData name="Pierugo Pace" userId="2226acec-25d1-48aa-b467-65eac8578bef" providerId="ADAL" clId="{C473F347-30E6-4F99-BD43-7C0AE76DCA8B}" dt="2024-07-05T14:00:51.041" v="4979"/>
          <ac:cxnSpMkLst>
            <pc:docMk/>
            <pc:sldMk cId="205943383" sldId="3259"/>
            <ac:cxnSpMk id="36" creationId="{1FD26E38-68C6-3611-BE84-3FCB64EDD616}"/>
          </ac:cxnSpMkLst>
        </pc:cxnChg>
        <pc:cxnChg chg="mod">
          <ac:chgData name="Pierugo Pace" userId="2226acec-25d1-48aa-b467-65eac8578bef" providerId="ADAL" clId="{C473F347-30E6-4F99-BD43-7C0AE76DCA8B}" dt="2024-07-05T14:00:51.041" v="4979"/>
          <ac:cxnSpMkLst>
            <pc:docMk/>
            <pc:sldMk cId="205943383" sldId="3259"/>
            <ac:cxnSpMk id="38" creationId="{636FA89F-993D-83C3-A1E8-AB6704BF8B80}"/>
          </ac:cxnSpMkLst>
        </pc:cxnChg>
        <pc:cxnChg chg="mod topLvl">
          <ac:chgData name="Pierugo Pace" userId="2226acec-25d1-48aa-b467-65eac8578bef" providerId="ADAL" clId="{C473F347-30E6-4F99-BD43-7C0AE76DCA8B}" dt="2024-07-08T08:21:01.783" v="6481" actId="571"/>
          <ac:cxnSpMkLst>
            <pc:docMk/>
            <pc:sldMk cId="205943383" sldId="3259"/>
            <ac:cxnSpMk id="40" creationId="{71A14AB1-3567-44C0-1C55-D16E66B52671}"/>
          </ac:cxnSpMkLst>
        </pc:cxnChg>
        <pc:cxnChg chg="add del mod">
          <ac:chgData name="Pierugo Pace" userId="2226acec-25d1-48aa-b467-65eac8578bef" providerId="ADAL" clId="{C473F347-30E6-4F99-BD43-7C0AE76DCA8B}" dt="2024-07-05T14:33:24.994" v="5328" actId="478"/>
          <ac:cxnSpMkLst>
            <pc:docMk/>
            <pc:sldMk cId="205943383" sldId="3259"/>
            <ac:cxnSpMk id="42" creationId="{B07EB5F5-EF7D-6C91-6A6F-8380CA6864B9}"/>
          </ac:cxnSpMkLst>
        </pc:cxnChg>
        <pc:cxnChg chg="add del mod">
          <ac:chgData name="Pierugo Pace" userId="2226acec-25d1-48aa-b467-65eac8578bef" providerId="ADAL" clId="{C473F347-30E6-4F99-BD43-7C0AE76DCA8B}" dt="2024-07-05T14:33:24.994" v="5328" actId="478"/>
          <ac:cxnSpMkLst>
            <pc:docMk/>
            <pc:sldMk cId="205943383" sldId="3259"/>
            <ac:cxnSpMk id="44" creationId="{1A9BB704-B0F9-6E6D-A51C-4B919A7B4C4F}"/>
          </ac:cxnSpMkLst>
        </pc:cxnChg>
        <pc:cxnChg chg="mod">
          <ac:chgData name="Pierugo Pace" userId="2226acec-25d1-48aa-b467-65eac8578bef" providerId="ADAL" clId="{C473F347-30E6-4F99-BD43-7C0AE76DCA8B}" dt="2024-07-05T14:00:51.041" v="4979"/>
          <ac:cxnSpMkLst>
            <pc:docMk/>
            <pc:sldMk cId="205943383" sldId="3259"/>
            <ac:cxnSpMk id="45" creationId="{6937984E-03B1-8038-E47C-0865650D4F5E}"/>
          </ac:cxnSpMkLst>
        </pc:cxnChg>
        <pc:cxnChg chg="add del mod">
          <ac:chgData name="Pierugo Pace" userId="2226acec-25d1-48aa-b467-65eac8578bef" providerId="ADAL" clId="{C473F347-30E6-4F99-BD43-7C0AE76DCA8B}" dt="2024-07-05T14:33:24.994" v="5328" actId="478"/>
          <ac:cxnSpMkLst>
            <pc:docMk/>
            <pc:sldMk cId="205943383" sldId="3259"/>
            <ac:cxnSpMk id="46" creationId="{35211536-0A1E-E229-43C8-321371793421}"/>
          </ac:cxnSpMkLst>
        </pc:cxnChg>
        <pc:cxnChg chg="mod">
          <ac:chgData name="Pierugo Pace" userId="2226acec-25d1-48aa-b467-65eac8578bef" providerId="ADAL" clId="{C473F347-30E6-4F99-BD43-7C0AE76DCA8B}" dt="2024-07-05T14:00:51.041" v="4979"/>
          <ac:cxnSpMkLst>
            <pc:docMk/>
            <pc:sldMk cId="205943383" sldId="3259"/>
            <ac:cxnSpMk id="48" creationId="{559E62D4-143B-7A3C-C37B-5995187D0600}"/>
          </ac:cxnSpMkLst>
        </pc:cxnChg>
        <pc:cxnChg chg="add del mod">
          <ac:chgData name="Pierugo Pace" userId="2226acec-25d1-48aa-b467-65eac8578bef" providerId="ADAL" clId="{C473F347-30E6-4F99-BD43-7C0AE76DCA8B}" dt="2024-07-05T14:33:24.994" v="5328" actId="478"/>
          <ac:cxnSpMkLst>
            <pc:docMk/>
            <pc:sldMk cId="205943383" sldId="3259"/>
            <ac:cxnSpMk id="48" creationId="{996DB43D-1BA2-274C-3581-C6E4FBC64C73}"/>
          </ac:cxnSpMkLst>
        </pc:cxnChg>
        <pc:cxnChg chg="add del mod">
          <ac:chgData name="Pierugo Pace" userId="2226acec-25d1-48aa-b467-65eac8578bef" providerId="ADAL" clId="{C473F347-30E6-4F99-BD43-7C0AE76DCA8B}" dt="2024-07-05T14:33:24.994" v="5328" actId="478"/>
          <ac:cxnSpMkLst>
            <pc:docMk/>
            <pc:sldMk cId="205943383" sldId="3259"/>
            <ac:cxnSpMk id="51" creationId="{490B9C16-8628-F5A6-5009-9E8218AB5701}"/>
          </ac:cxnSpMkLst>
        </pc:cxnChg>
        <pc:cxnChg chg="mod topLvl">
          <ac:chgData name="Pierugo Pace" userId="2226acec-25d1-48aa-b467-65eac8578bef" providerId="ADAL" clId="{C473F347-30E6-4F99-BD43-7C0AE76DCA8B}" dt="2024-07-24T14:04:50.989" v="10055" actId="20577"/>
          <ac:cxnSpMkLst>
            <pc:docMk/>
            <pc:sldMk cId="205943383" sldId="3259"/>
            <ac:cxnSpMk id="57" creationId="{F904AD01-083C-E539-E865-F7BBB51A7863}"/>
          </ac:cxnSpMkLst>
        </pc:cxnChg>
        <pc:cxnChg chg="mod topLvl">
          <ac:chgData name="Pierugo Pace" userId="2226acec-25d1-48aa-b467-65eac8578bef" providerId="ADAL" clId="{C473F347-30E6-4F99-BD43-7C0AE76DCA8B}" dt="2024-07-24T14:04:50.989" v="10055" actId="20577"/>
          <ac:cxnSpMkLst>
            <pc:docMk/>
            <pc:sldMk cId="205943383" sldId="3259"/>
            <ac:cxnSpMk id="60" creationId="{CF695455-4282-F6E3-630F-9A178A653C98}"/>
          </ac:cxnSpMkLst>
        </pc:cxnChg>
        <pc:cxnChg chg="mod topLvl">
          <ac:chgData name="Pierugo Pace" userId="2226acec-25d1-48aa-b467-65eac8578bef" providerId="ADAL" clId="{C473F347-30E6-4F99-BD43-7C0AE76DCA8B}" dt="2024-07-24T14:04:50.989" v="10055" actId="20577"/>
          <ac:cxnSpMkLst>
            <pc:docMk/>
            <pc:sldMk cId="205943383" sldId="3259"/>
            <ac:cxnSpMk id="63" creationId="{B68A7117-B463-2089-C60F-B8608F88E021}"/>
          </ac:cxnSpMkLst>
        </pc:cxnChg>
        <pc:cxnChg chg="mod topLvl">
          <ac:chgData name="Pierugo Pace" userId="2226acec-25d1-48aa-b467-65eac8578bef" providerId="ADAL" clId="{C473F347-30E6-4F99-BD43-7C0AE76DCA8B}" dt="2024-07-24T14:04:50.989" v="10055" actId="20577"/>
          <ac:cxnSpMkLst>
            <pc:docMk/>
            <pc:sldMk cId="205943383" sldId="3259"/>
            <ac:cxnSpMk id="64" creationId="{4F04EA9A-42F3-6F11-A33C-8316FE583ED1}"/>
          </ac:cxnSpMkLst>
        </pc:cxnChg>
        <pc:cxnChg chg="mod topLvl">
          <ac:chgData name="Pierugo Pace" userId="2226acec-25d1-48aa-b467-65eac8578bef" providerId="ADAL" clId="{C473F347-30E6-4F99-BD43-7C0AE76DCA8B}" dt="2024-07-24T14:04:50.989" v="10055" actId="20577"/>
          <ac:cxnSpMkLst>
            <pc:docMk/>
            <pc:sldMk cId="205943383" sldId="3259"/>
            <ac:cxnSpMk id="66" creationId="{6B1F2F0C-E4EC-89D8-C342-223A782691EE}"/>
          </ac:cxnSpMkLst>
        </pc:cxnChg>
        <pc:cxnChg chg="mod topLvl">
          <ac:chgData name="Pierugo Pace" userId="2226acec-25d1-48aa-b467-65eac8578bef" providerId="ADAL" clId="{C473F347-30E6-4F99-BD43-7C0AE76DCA8B}" dt="2024-07-24T14:04:50.989" v="10055" actId="20577"/>
          <ac:cxnSpMkLst>
            <pc:docMk/>
            <pc:sldMk cId="205943383" sldId="3259"/>
            <ac:cxnSpMk id="69" creationId="{125CE8C4-7B7E-DE9A-0E8B-ECD4A8D33B71}"/>
          </ac:cxnSpMkLst>
        </pc:cxnChg>
        <pc:cxnChg chg="mod topLvl">
          <ac:chgData name="Pierugo Pace" userId="2226acec-25d1-48aa-b467-65eac8578bef" providerId="ADAL" clId="{C473F347-30E6-4F99-BD43-7C0AE76DCA8B}" dt="2024-07-24T14:04:50.989" v="10055" actId="20577"/>
          <ac:cxnSpMkLst>
            <pc:docMk/>
            <pc:sldMk cId="205943383" sldId="3259"/>
            <ac:cxnSpMk id="76" creationId="{6068C7B4-FB3E-5B24-F1F1-53673ACE3BEF}"/>
          </ac:cxnSpMkLst>
        </pc:cxnChg>
        <pc:cxnChg chg="add mod">
          <ac:chgData name="Pierugo Pace" userId="2226acec-25d1-48aa-b467-65eac8578bef" providerId="ADAL" clId="{C473F347-30E6-4F99-BD43-7C0AE76DCA8B}" dt="2024-07-05T14:33:22.758" v="5327" actId="571"/>
          <ac:cxnSpMkLst>
            <pc:docMk/>
            <pc:sldMk cId="205943383" sldId="3259"/>
            <ac:cxnSpMk id="101" creationId="{80279109-2D9F-E7FD-6B49-78F9D9580EFF}"/>
          </ac:cxnSpMkLst>
        </pc:cxnChg>
        <pc:cxnChg chg="add mod">
          <ac:chgData name="Pierugo Pace" userId="2226acec-25d1-48aa-b467-65eac8578bef" providerId="ADAL" clId="{C473F347-30E6-4F99-BD43-7C0AE76DCA8B}" dt="2024-07-05T14:33:22.758" v="5327" actId="571"/>
          <ac:cxnSpMkLst>
            <pc:docMk/>
            <pc:sldMk cId="205943383" sldId="3259"/>
            <ac:cxnSpMk id="102" creationId="{1D7E5D6F-3874-9213-7F7B-F45059138A94}"/>
          </ac:cxnSpMkLst>
        </pc:cxnChg>
        <pc:cxnChg chg="add mod">
          <ac:chgData name="Pierugo Pace" userId="2226acec-25d1-48aa-b467-65eac8578bef" providerId="ADAL" clId="{C473F347-30E6-4F99-BD43-7C0AE76DCA8B}" dt="2024-07-05T14:33:22.758" v="5327" actId="571"/>
          <ac:cxnSpMkLst>
            <pc:docMk/>
            <pc:sldMk cId="205943383" sldId="3259"/>
            <ac:cxnSpMk id="104" creationId="{12EC0F3C-480A-E386-CEFE-2F2B27F1790F}"/>
          </ac:cxnSpMkLst>
        </pc:cxnChg>
        <pc:cxnChg chg="add mod">
          <ac:chgData name="Pierugo Pace" userId="2226acec-25d1-48aa-b467-65eac8578bef" providerId="ADAL" clId="{C473F347-30E6-4F99-BD43-7C0AE76DCA8B}" dt="2024-07-05T14:03:08.748" v="5079" actId="571"/>
          <ac:cxnSpMkLst>
            <pc:docMk/>
            <pc:sldMk cId="205943383" sldId="3259"/>
            <ac:cxnSpMk id="106" creationId="{84E2935E-0615-3ED0-5497-0683C8F47063}"/>
          </ac:cxnSpMkLst>
        </pc:cxnChg>
        <pc:cxnChg chg="add mod">
          <ac:chgData name="Pierugo Pace" userId="2226acec-25d1-48aa-b467-65eac8578bef" providerId="ADAL" clId="{C473F347-30E6-4F99-BD43-7C0AE76DCA8B}" dt="2024-07-05T14:03:08.748" v="5079" actId="571"/>
          <ac:cxnSpMkLst>
            <pc:docMk/>
            <pc:sldMk cId="205943383" sldId="3259"/>
            <ac:cxnSpMk id="107" creationId="{4F6D12B6-8A3E-48BD-7599-7ECA6C2034CF}"/>
          </ac:cxnSpMkLst>
        </pc:cxnChg>
        <pc:cxnChg chg="add mod">
          <ac:chgData name="Pierugo Pace" userId="2226acec-25d1-48aa-b467-65eac8578bef" providerId="ADAL" clId="{C473F347-30E6-4F99-BD43-7C0AE76DCA8B}" dt="2024-07-05T14:33:22.758" v="5327" actId="571"/>
          <ac:cxnSpMkLst>
            <pc:docMk/>
            <pc:sldMk cId="205943383" sldId="3259"/>
            <ac:cxnSpMk id="107" creationId="{AD1DD32F-1BD1-B985-AD2F-16119A18710E}"/>
          </ac:cxnSpMkLst>
        </pc:cxnChg>
        <pc:cxnChg chg="add mod">
          <ac:chgData name="Pierugo Pace" userId="2226acec-25d1-48aa-b467-65eac8578bef" providerId="ADAL" clId="{C473F347-30E6-4F99-BD43-7C0AE76DCA8B}" dt="2024-07-05T14:03:08.748" v="5079" actId="571"/>
          <ac:cxnSpMkLst>
            <pc:docMk/>
            <pc:sldMk cId="205943383" sldId="3259"/>
            <ac:cxnSpMk id="109" creationId="{E42D2AFA-FC55-8E95-8536-5474069089CB}"/>
          </ac:cxnSpMkLst>
        </pc:cxnChg>
        <pc:cxnChg chg="add mod">
          <ac:chgData name="Pierugo Pace" userId="2226acec-25d1-48aa-b467-65eac8578bef" providerId="ADAL" clId="{C473F347-30E6-4F99-BD43-7C0AE76DCA8B}" dt="2024-07-05T14:33:22.758" v="5327" actId="571"/>
          <ac:cxnSpMkLst>
            <pc:docMk/>
            <pc:sldMk cId="205943383" sldId="3259"/>
            <ac:cxnSpMk id="110" creationId="{CCC79ADE-5486-6CDA-B6D3-C991DF3B368E}"/>
          </ac:cxnSpMkLst>
        </pc:cxnChg>
        <pc:cxnChg chg="add mod">
          <ac:chgData name="Pierugo Pace" userId="2226acec-25d1-48aa-b467-65eac8578bef" providerId="ADAL" clId="{C473F347-30E6-4F99-BD43-7C0AE76DCA8B}" dt="2024-07-05T14:03:08.748" v="5079" actId="571"/>
          <ac:cxnSpMkLst>
            <pc:docMk/>
            <pc:sldMk cId="205943383" sldId="3259"/>
            <ac:cxnSpMk id="112" creationId="{315A817C-4A04-FE18-4AAF-C2D2AADE971D}"/>
          </ac:cxnSpMkLst>
        </pc:cxnChg>
        <pc:cxnChg chg="add mod">
          <ac:chgData name="Pierugo Pace" userId="2226acec-25d1-48aa-b467-65eac8578bef" providerId="ADAL" clId="{C473F347-30E6-4F99-BD43-7C0AE76DCA8B}" dt="2024-07-05T14:33:22.758" v="5327" actId="571"/>
          <ac:cxnSpMkLst>
            <pc:docMk/>
            <pc:sldMk cId="205943383" sldId="3259"/>
            <ac:cxnSpMk id="115" creationId="{AB70DD5F-00DC-1197-FF66-718052480C78}"/>
          </ac:cxnSpMkLst>
        </pc:cxnChg>
        <pc:cxnChg chg="add mod">
          <ac:chgData name="Pierugo Pace" userId="2226acec-25d1-48aa-b467-65eac8578bef" providerId="ADAL" clId="{C473F347-30E6-4F99-BD43-7C0AE76DCA8B}" dt="2024-07-05T14:03:08.748" v="5079" actId="571"/>
          <ac:cxnSpMkLst>
            <pc:docMk/>
            <pc:sldMk cId="205943383" sldId="3259"/>
            <ac:cxnSpMk id="115" creationId="{FDE32B64-965C-2C10-865A-80CB8263B02F}"/>
          </ac:cxnSpMkLst>
        </pc:cxnChg>
        <pc:cxnChg chg="add mod">
          <ac:chgData name="Pierugo Pace" userId="2226acec-25d1-48aa-b467-65eac8578bef" providerId="ADAL" clId="{C473F347-30E6-4F99-BD43-7C0AE76DCA8B}" dt="2024-07-05T14:33:22.758" v="5327" actId="571"/>
          <ac:cxnSpMkLst>
            <pc:docMk/>
            <pc:sldMk cId="205943383" sldId="3259"/>
            <ac:cxnSpMk id="116" creationId="{B3F40B40-F9A6-EA77-354B-90A4D6CE041E}"/>
          </ac:cxnSpMkLst>
        </pc:cxnChg>
        <pc:cxnChg chg="add mod topLvl">
          <ac:chgData name="Pierugo Pace" userId="2226acec-25d1-48aa-b467-65eac8578bef" providerId="ADAL" clId="{C473F347-30E6-4F99-BD43-7C0AE76DCA8B}" dt="2024-07-08T08:21:01.783" v="6481" actId="571"/>
          <ac:cxnSpMkLst>
            <pc:docMk/>
            <pc:sldMk cId="205943383" sldId="3259"/>
            <ac:cxnSpMk id="122" creationId="{93980ABD-0DA4-F89B-E9A7-513522EEE51A}"/>
          </ac:cxnSpMkLst>
        </pc:cxnChg>
        <pc:cxnChg chg="add mod topLvl">
          <ac:chgData name="Pierugo Pace" userId="2226acec-25d1-48aa-b467-65eac8578bef" providerId="ADAL" clId="{C473F347-30E6-4F99-BD43-7C0AE76DCA8B}" dt="2024-07-08T08:21:01.783" v="6481" actId="571"/>
          <ac:cxnSpMkLst>
            <pc:docMk/>
            <pc:sldMk cId="205943383" sldId="3259"/>
            <ac:cxnSpMk id="123" creationId="{CB0D616D-F36F-B1B2-0EC3-B53C8C57E698}"/>
          </ac:cxnSpMkLst>
        </pc:cxnChg>
        <pc:cxnChg chg="add mod topLvl">
          <ac:chgData name="Pierugo Pace" userId="2226acec-25d1-48aa-b467-65eac8578bef" providerId="ADAL" clId="{C473F347-30E6-4F99-BD43-7C0AE76DCA8B}" dt="2024-07-08T08:21:01.783" v="6481" actId="571"/>
          <ac:cxnSpMkLst>
            <pc:docMk/>
            <pc:sldMk cId="205943383" sldId="3259"/>
            <ac:cxnSpMk id="125" creationId="{241CDAB3-8701-96A1-AB0D-9F73A3B1B9DE}"/>
          </ac:cxnSpMkLst>
        </pc:cxnChg>
        <pc:cxnChg chg="add mod topLvl">
          <ac:chgData name="Pierugo Pace" userId="2226acec-25d1-48aa-b467-65eac8578bef" providerId="ADAL" clId="{C473F347-30E6-4F99-BD43-7C0AE76DCA8B}" dt="2024-07-08T08:21:01.783" v="6481" actId="571"/>
          <ac:cxnSpMkLst>
            <pc:docMk/>
            <pc:sldMk cId="205943383" sldId="3259"/>
            <ac:cxnSpMk id="128" creationId="{B534B689-2407-6A4D-82A9-1D4C92C956AA}"/>
          </ac:cxnSpMkLst>
        </pc:cxnChg>
        <pc:cxnChg chg="add mod topLvl">
          <ac:chgData name="Pierugo Pace" userId="2226acec-25d1-48aa-b467-65eac8578bef" providerId="ADAL" clId="{C473F347-30E6-4F99-BD43-7C0AE76DCA8B}" dt="2024-07-08T08:21:01.783" v="6481" actId="571"/>
          <ac:cxnSpMkLst>
            <pc:docMk/>
            <pc:sldMk cId="205943383" sldId="3259"/>
            <ac:cxnSpMk id="131" creationId="{0A0AD6A0-4363-13CC-8ACD-289B52A4904B}"/>
          </ac:cxnSpMkLst>
        </pc:cxnChg>
        <pc:cxnChg chg="add mod">
          <ac:chgData name="Pierugo Pace" userId="2226acec-25d1-48aa-b467-65eac8578bef" providerId="ADAL" clId="{C473F347-30E6-4F99-BD43-7C0AE76DCA8B}" dt="2024-07-05T14:33:22.758" v="5327" actId="571"/>
          <ac:cxnSpMkLst>
            <pc:docMk/>
            <pc:sldMk cId="205943383" sldId="3259"/>
            <ac:cxnSpMk id="134" creationId="{73DCF732-E086-1E04-932B-9BA3857DA12F}"/>
          </ac:cxnSpMkLst>
        </pc:cxnChg>
        <pc:cxnChg chg="add mod">
          <ac:chgData name="Pierugo Pace" userId="2226acec-25d1-48aa-b467-65eac8578bef" providerId="ADAL" clId="{C473F347-30E6-4F99-BD43-7C0AE76DCA8B}" dt="2024-07-05T14:33:22.758" v="5327" actId="571"/>
          <ac:cxnSpMkLst>
            <pc:docMk/>
            <pc:sldMk cId="205943383" sldId="3259"/>
            <ac:cxnSpMk id="136" creationId="{FF85DEBF-C79F-8176-C94E-701495D9463C}"/>
          </ac:cxnSpMkLst>
        </pc:cxnChg>
        <pc:cxnChg chg="add mod">
          <ac:chgData name="Pierugo Pace" userId="2226acec-25d1-48aa-b467-65eac8578bef" providerId="ADAL" clId="{C473F347-30E6-4F99-BD43-7C0AE76DCA8B}" dt="2024-07-05T14:03:32.382" v="5082" actId="571"/>
          <ac:cxnSpMkLst>
            <pc:docMk/>
            <pc:sldMk cId="205943383" sldId="3259"/>
            <ac:cxnSpMk id="138" creationId="{652DAED2-94CC-2CF9-95AD-D114BC6EFD5E}"/>
          </ac:cxnSpMkLst>
        </pc:cxnChg>
        <pc:cxnChg chg="add mod">
          <ac:chgData name="Pierugo Pace" userId="2226acec-25d1-48aa-b467-65eac8578bef" providerId="ADAL" clId="{C473F347-30E6-4F99-BD43-7C0AE76DCA8B}" dt="2024-07-05T14:33:22.758" v="5327" actId="571"/>
          <ac:cxnSpMkLst>
            <pc:docMk/>
            <pc:sldMk cId="205943383" sldId="3259"/>
            <ac:cxnSpMk id="139" creationId="{A0086D2D-97EE-EC3C-3070-B3FB7C2B8704}"/>
          </ac:cxnSpMkLst>
        </pc:cxnChg>
        <pc:cxnChg chg="add mod">
          <ac:chgData name="Pierugo Pace" userId="2226acec-25d1-48aa-b467-65eac8578bef" providerId="ADAL" clId="{C473F347-30E6-4F99-BD43-7C0AE76DCA8B}" dt="2024-07-05T14:03:32.382" v="5082" actId="571"/>
          <ac:cxnSpMkLst>
            <pc:docMk/>
            <pc:sldMk cId="205943383" sldId="3259"/>
            <ac:cxnSpMk id="139" creationId="{A6096311-25F7-74D6-6384-6EAA67C8DFEE}"/>
          </ac:cxnSpMkLst>
        </pc:cxnChg>
        <pc:cxnChg chg="add mod">
          <ac:chgData name="Pierugo Pace" userId="2226acec-25d1-48aa-b467-65eac8578bef" providerId="ADAL" clId="{C473F347-30E6-4F99-BD43-7C0AE76DCA8B}" dt="2024-07-05T14:03:32.382" v="5082" actId="571"/>
          <ac:cxnSpMkLst>
            <pc:docMk/>
            <pc:sldMk cId="205943383" sldId="3259"/>
            <ac:cxnSpMk id="141" creationId="{9E47FCA8-9B8C-1A8D-9E79-DC48A08AD76E}"/>
          </ac:cxnSpMkLst>
        </pc:cxnChg>
        <pc:cxnChg chg="add mod">
          <ac:chgData name="Pierugo Pace" userId="2226acec-25d1-48aa-b467-65eac8578bef" providerId="ADAL" clId="{C473F347-30E6-4F99-BD43-7C0AE76DCA8B}" dt="2024-07-05T14:03:32.382" v="5082" actId="571"/>
          <ac:cxnSpMkLst>
            <pc:docMk/>
            <pc:sldMk cId="205943383" sldId="3259"/>
            <ac:cxnSpMk id="144" creationId="{B96AFECD-365F-EECE-0AB3-805993A3BB50}"/>
          </ac:cxnSpMkLst>
        </pc:cxnChg>
        <pc:cxnChg chg="add mod">
          <ac:chgData name="Pierugo Pace" userId="2226acec-25d1-48aa-b467-65eac8578bef" providerId="ADAL" clId="{C473F347-30E6-4F99-BD43-7C0AE76DCA8B}" dt="2024-07-05T14:03:32.382" v="5082" actId="571"/>
          <ac:cxnSpMkLst>
            <pc:docMk/>
            <pc:sldMk cId="205943383" sldId="3259"/>
            <ac:cxnSpMk id="147" creationId="{3B3FD354-DE40-522B-771D-7D7F87A33375}"/>
          </ac:cxnSpMkLst>
        </pc:cxnChg>
        <pc:cxnChg chg="add mod">
          <ac:chgData name="Pierugo Pace" userId="2226acec-25d1-48aa-b467-65eac8578bef" providerId="ADAL" clId="{C473F347-30E6-4F99-BD43-7C0AE76DCA8B}" dt="2024-07-05T14:05:09.603" v="5136" actId="1076"/>
          <ac:cxnSpMkLst>
            <pc:docMk/>
            <pc:sldMk cId="205943383" sldId="3259"/>
            <ac:cxnSpMk id="152" creationId="{8D58620C-98F6-1A8D-0A71-47905ECEAE62}"/>
          </ac:cxnSpMkLst>
        </pc:cxnChg>
        <pc:cxnChg chg="add mod topLvl">
          <ac:chgData name="Pierugo Pace" userId="2226acec-25d1-48aa-b467-65eac8578bef" providerId="ADAL" clId="{C473F347-30E6-4F99-BD43-7C0AE76DCA8B}" dt="2024-07-24T14:04:50.989" v="10055" actId="20577"/>
          <ac:cxnSpMkLst>
            <pc:docMk/>
            <pc:sldMk cId="205943383" sldId="3259"/>
            <ac:cxnSpMk id="152" creationId="{C4ED11DA-03E6-3942-5836-AFAC4B4B1965}"/>
          </ac:cxnSpMkLst>
        </pc:cxnChg>
        <pc:cxnChg chg="add mod topLvl">
          <ac:chgData name="Pierugo Pace" userId="2226acec-25d1-48aa-b467-65eac8578bef" providerId="ADAL" clId="{C473F347-30E6-4F99-BD43-7C0AE76DCA8B}" dt="2024-07-08T08:21:01.783" v="6481" actId="571"/>
          <ac:cxnSpMkLst>
            <pc:docMk/>
            <pc:sldMk cId="205943383" sldId="3259"/>
            <ac:cxnSpMk id="153" creationId="{AE9D0CC0-FB28-1E34-A4A8-74438F8F52A3}"/>
          </ac:cxnSpMkLst>
        </pc:cxnChg>
        <pc:cxnChg chg="add mod topLvl">
          <ac:chgData name="Pierugo Pace" userId="2226acec-25d1-48aa-b467-65eac8578bef" providerId="ADAL" clId="{C473F347-30E6-4F99-BD43-7C0AE76DCA8B}" dt="2024-07-24T14:04:50.989" v="10055" actId="20577"/>
          <ac:cxnSpMkLst>
            <pc:docMk/>
            <pc:sldMk cId="205943383" sldId="3259"/>
            <ac:cxnSpMk id="154" creationId="{EDF9553E-9B2D-7EFC-72AF-8B66B65FA97F}"/>
          </ac:cxnSpMkLst>
        </pc:cxnChg>
        <pc:cxnChg chg="add mod topLvl">
          <ac:chgData name="Pierugo Pace" userId="2226acec-25d1-48aa-b467-65eac8578bef" providerId="ADAL" clId="{C473F347-30E6-4F99-BD43-7C0AE76DCA8B}" dt="2024-07-24T14:04:50.989" v="10055" actId="20577"/>
          <ac:cxnSpMkLst>
            <pc:docMk/>
            <pc:sldMk cId="205943383" sldId="3259"/>
            <ac:cxnSpMk id="156" creationId="{A060479A-53F4-1662-3836-3D99D6405FE2}"/>
          </ac:cxnSpMkLst>
        </pc:cxnChg>
        <pc:cxnChg chg="add mod">
          <ac:chgData name="Pierugo Pace" userId="2226acec-25d1-48aa-b467-65eac8578bef" providerId="ADAL" clId="{C473F347-30E6-4F99-BD43-7C0AE76DCA8B}" dt="2024-07-05T14:05:46.034" v="5146"/>
          <ac:cxnSpMkLst>
            <pc:docMk/>
            <pc:sldMk cId="205943383" sldId="3259"/>
            <ac:cxnSpMk id="158" creationId="{C21908B9-25BC-8E3B-D3B6-12FE4537D49C}"/>
          </ac:cxnSpMkLst>
        </pc:cxnChg>
        <pc:cxnChg chg="add mod topLvl">
          <ac:chgData name="Pierugo Pace" userId="2226acec-25d1-48aa-b467-65eac8578bef" providerId="ADAL" clId="{C473F347-30E6-4F99-BD43-7C0AE76DCA8B}" dt="2024-07-08T08:21:01.783" v="6481" actId="571"/>
          <ac:cxnSpMkLst>
            <pc:docMk/>
            <pc:sldMk cId="205943383" sldId="3259"/>
            <ac:cxnSpMk id="159" creationId="{9CAC0591-23EC-8509-A2A7-8002B659EAE6}"/>
          </ac:cxnSpMkLst>
        </pc:cxnChg>
        <pc:cxnChg chg="add mod topLvl">
          <ac:chgData name="Pierugo Pace" userId="2226acec-25d1-48aa-b467-65eac8578bef" providerId="ADAL" clId="{C473F347-30E6-4F99-BD43-7C0AE76DCA8B}" dt="2024-07-24T14:04:50.989" v="10055" actId="20577"/>
          <ac:cxnSpMkLst>
            <pc:docMk/>
            <pc:sldMk cId="205943383" sldId="3259"/>
            <ac:cxnSpMk id="160" creationId="{EBEF522A-0261-7F63-17E7-2C8A6695C3F3}"/>
          </ac:cxnSpMkLst>
        </pc:cxnChg>
        <pc:cxnChg chg="add mod topLvl">
          <ac:chgData name="Pierugo Pace" userId="2226acec-25d1-48aa-b467-65eac8578bef" providerId="ADAL" clId="{C473F347-30E6-4F99-BD43-7C0AE76DCA8B}" dt="2024-07-24T14:04:50.989" v="10055" actId="20577"/>
          <ac:cxnSpMkLst>
            <pc:docMk/>
            <pc:sldMk cId="205943383" sldId="3259"/>
            <ac:cxnSpMk id="163" creationId="{28CD4BEC-3A93-7170-EC10-10BB15B2E487}"/>
          </ac:cxnSpMkLst>
        </pc:cxnChg>
        <pc:cxnChg chg="add del mod topLvl">
          <ac:chgData name="Pierugo Pace" userId="2226acec-25d1-48aa-b467-65eac8578bef" providerId="ADAL" clId="{C473F347-30E6-4F99-BD43-7C0AE76DCA8B}" dt="2024-07-05T14:35:55.652" v="5361" actId="478"/>
          <ac:cxnSpMkLst>
            <pc:docMk/>
            <pc:sldMk cId="205943383" sldId="3259"/>
            <ac:cxnSpMk id="168" creationId="{9CA34E05-349D-CBAA-66B9-D80D04392391}"/>
          </ac:cxnSpMkLst>
        </pc:cxnChg>
        <pc:cxnChg chg="add del mod topLvl">
          <ac:chgData name="Pierugo Pace" userId="2226acec-25d1-48aa-b467-65eac8578bef" providerId="ADAL" clId="{C473F347-30E6-4F99-BD43-7C0AE76DCA8B}" dt="2024-07-05T14:35:55.652" v="5361" actId="478"/>
          <ac:cxnSpMkLst>
            <pc:docMk/>
            <pc:sldMk cId="205943383" sldId="3259"/>
            <ac:cxnSpMk id="169" creationId="{8641F71C-72BC-5895-122A-B4A9F228C329}"/>
          </ac:cxnSpMkLst>
        </pc:cxnChg>
        <pc:cxnChg chg="add del mod topLvl">
          <ac:chgData name="Pierugo Pace" userId="2226acec-25d1-48aa-b467-65eac8578bef" providerId="ADAL" clId="{C473F347-30E6-4F99-BD43-7C0AE76DCA8B}" dt="2024-07-05T14:35:55.652" v="5361" actId="478"/>
          <ac:cxnSpMkLst>
            <pc:docMk/>
            <pc:sldMk cId="205943383" sldId="3259"/>
            <ac:cxnSpMk id="172" creationId="{7ED0AD45-C3AB-5424-9627-39DF529A1C5F}"/>
          </ac:cxnSpMkLst>
        </pc:cxnChg>
        <pc:cxnChg chg="add del mod topLvl">
          <ac:chgData name="Pierugo Pace" userId="2226acec-25d1-48aa-b467-65eac8578bef" providerId="ADAL" clId="{C473F347-30E6-4F99-BD43-7C0AE76DCA8B}" dt="2024-07-05T14:35:55.652" v="5361" actId="478"/>
          <ac:cxnSpMkLst>
            <pc:docMk/>
            <pc:sldMk cId="205943383" sldId="3259"/>
            <ac:cxnSpMk id="174" creationId="{2E27EBAE-9E92-A275-0F61-50A90C706016}"/>
          </ac:cxnSpMkLst>
        </pc:cxnChg>
        <pc:cxnChg chg="add del mod topLvl">
          <ac:chgData name="Pierugo Pace" userId="2226acec-25d1-48aa-b467-65eac8578bef" providerId="ADAL" clId="{C473F347-30E6-4F99-BD43-7C0AE76DCA8B}" dt="2024-07-05T14:35:55.652" v="5361" actId="478"/>
          <ac:cxnSpMkLst>
            <pc:docMk/>
            <pc:sldMk cId="205943383" sldId="3259"/>
            <ac:cxnSpMk id="177" creationId="{250F79F0-C2E2-7140-0CAC-4098CBBDB2DE}"/>
          </ac:cxnSpMkLst>
        </pc:cxnChg>
        <pc:cxnChg chg="add mod topLvl">
          <ac:chgData name="Pierugo Pace" userId="2226acec-25d1-48aa-b467-65eac8578bef" providerId="ADAL" clId="{C473F347-30E6-4F99-BD43-7C0AE76DCA8B}" dt="2024-07-24T14:04:50.989" v="10055" actId="20577"/>
          <ac:cxnSpMkLst>
            <pc:docMk/>
            <pc:sldMk cId="205943383" sldId="3259"/>
            <ac:cxnSpMk id="187" creationId="{0558EDE1-C498-14C0-1BCF-ED0DCFBA1B5C}"/>
          </ac:cxnSpMkLst>
        </pc:cxnChg>
        <pc:cxnChg chg="add mod topLvl">
          <ac:chgData name="Pierugo Pace" userId="2226acec-25d1-48aa-b467-65eac8578bef" providerId="ADAL" clId="{C473F347-30E6-4F99-BD43-7C0AE76DCA8B}" dt="2024-07-24T14:04:50.989" v="10055" actId="20577"/>
          <ac:cxnSpMkLst>
            <pc:docMk/>
            <pc:sldMk cId="205943383" sldId="3259"/>
            <ac:cxnSpMk id="190" creationId="{F3E96430-B583-B5F3-A7DF-3075F036BD39}"/>
          </ac:cxnSpMkLst>
        </pc:cxnChg>
        <pc:cxnChg chg="add mod topLvl">
          <ac:chgData name="Pierugo Pace" userId="2226acec-25d1-48aa-b467-65eac8578bef" providerId="ADAL" clId="{C473F347-30E6-4F99-BD43-7C0AE76DCA8B}" dt="2024-07-24T14:04:50.989" v="10055" actId="20577"/>
          <ac:cxnSpMkLst>
            <pc:docMk/>
            <pc:sldMk cId="205943383" sldId="3259"/>
            <ac:cxnSpMk id="192" creationId="{622E107A-5AE3-E6CF-038F-22030ABB902D}"/>
          </ac:cxnSpMkLst>
        </pc:cxnChg>
      </pc:sldChg>
      <pc:sldChg chg="addSp delSp modSp add del mod ord modShow">
        <pc:chgData name="Pierugo Pace" userId="2226acec-25d1-48aa-b467-65eac8578bef" providerId="ADAL" clId="{C473F347-30E6-4F99-BD43-7C0AE76DCA8B}" dt="2024-07-24T12:01:43.807" v="8619" actId="729"/>
        <pc:sldMkLst>
          <pc:docMk/>
          <pc:sldMk cId="3558043603" sldId="3260"/>
        </pc:sldMkLst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6" creationId="{87747123-C0C2-9B49-4E69-C9B43CEA834A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7" creationId="{606D3238-FBCA-4467-9908-EB501D6FD5F1}"/>
          </ac:spMkLst>
        </pc:spChg>
        <pc:spChg chg="mod">
          <ac:chgData name="Pierugo Pace" userId="2226acec-25d1-48aa-b467-65eac8578bef" providerId="ADAL" clId="{C473F347-30E6-4F99-BD43-7C0AE76DCA8B}" dt="2024-07-10T12:46:51.279" v="7933" actId="1076"/>
          <ac:spMkLst>
            <pc:docMk/>
            <pc:sldMk cId="3558043603" sldId="3260"/>
            <ac:spMk id="8" creationId="{98F119C4-EFAA-9512-A471-1273E2278617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9" creationId="{91DFD1D3-7007-DA72-55B6-73D7D9CEE989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1" creationId="{B5FCBF74-014D-DFF5-F3B2-FACDE941CFB6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3" creationId="{7BDD9E2B-8CEF-1B1A-76AC-7743B7822871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5" creationId="{3B0A0033-A49A-10C6-ED3A-8BA1CBA0600E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8" creationId="{FAFC4479-ECDD-A45F-0830-06CE69D323BF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33" creationId="{3AEC42C0-AAD3-04B1-BF73-11E96C1C9823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35" creationId="{6675A163-50DF-FEBE-4247-73187479E749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36" creationId="{608AB722-D982-B9A0-4A0F-C8B0FDB569F9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38" creationId="{91FA9191-E617-C0E7-BBC6-B3A5B24B4A4E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42" creationId="{45167B58-B46B-420C-289B-0BE76BFC14C8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45" creationId="{859F1072-B36F-0017-9F4C-DE0C3B9BA0DC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46" creationId="{DC255C69-42B5-B8C3-F1D8-25F1722FEB8E}"/>
          </ac:spMkLst>
        </pc:spChg>
        <pc:spChg chg="del mod">
          <ac:chgData name="Pierugo Pace" userId="2226acec-25d1-48aa-b467-65eac8578bef" providerId="ADAL" clId="{C473F347-30E6-4F99-BD43-7C0AE76DCA8B}" dt="2024-07-10T12:28:34.794" v="7592" actId="478"/>
          <ac:spMkLst>
            <pc:docMk/>
            <pc:sldMk cId="3558043603" sldId="3260"/>
            <ac:spMk id="47" creationId="{BBD89019-CA6F-DB34-694C-2907EDB0ED68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48" creationId="{98D76F25-7500-A337-F826-33E2A3CA0EF7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49" creationId="{7FF8DB61-D2D3-E05B-FDF0-5328A08599CB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52" creationId="{D057756A-B184-FD7B-EC8D-AE1528FD10E9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54" creationId="{84A55F1E-A769-819D-FF6F-FA9C7D87FE93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56" creationId="{AB4AF96A-1DC6-A28A-5259-5029FC0CAD3F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57" creationId="{562093ED-3B5D-EA2D-F8CB-BA5963097EC6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59" creationId="{42E8680E-477E-3117-6767-FA6CEEDA8FEA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60" creationId="{C1C1D684-C32B-CB52-F4DD-C0591AB28F37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61" creationId="{B9EA1781-9CA9-D9D9-BF16-E91AC81793FC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62" creationId="{2C07CEB7-2A01-A05D-4B1A-ABC426F50849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63" creationId="{3F23108B-78C1-EC24-DD46-B49C8C331EEF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64" creationId="{772F6221-FA3B-285B-68DE-83B2B5471735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65" creationId="{1067698C-40C3-64FA-DFD0-BC6DE2D40953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66" creationId="{C4286D4B-CC2E-4533-50B9-3BDF630B1FE3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67" creationId="{52F060EC-60B3-2DE3-BFEF-BB76B6759AA0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68" creationId="{D24E91A2-693B-ABA2-2FEF-1EC89C0D95E2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71" creationId="{4754534A-2B3A-683E-06C2-3398A34A87EE}"/>
          </ac:spMkLst>
        </pc:spChg>
        <pc:spChg chg="mod">
          <ac:chgData name="Pierugo Pace" userId="2226acec-25d1-48aa-b467-65eac8578bef" providerId="ADAL" clId="{C473F347-30E6-4F99-BD43-7C0AE76DCA8B}" dt="2024-07-10T12:28:21.823" v="7589" actId="1076"/>
          <ac:spMkLst>
            <pc:docMk/>
            <pc:sldMk cId="3558043603" sldId="3260"/>
            <ac:spMk id="74" creationId="{CDA9B1A0-F203-E283-7398-BE67C8A647A7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79" creationId="{5CCACBC5-7F17-9F3A-B643-01FDF72F56D0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94" creationId="{00FC4667-57A8-82EE-982D-292E0592A1D3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96" creationId="{A73E0C95-8977-E3A3-77DE-C7DEBAEFD3F5}"/>
          </ac:spMkLst>
        </pc:spChg>
        <pc:spChg chg="del mod">
          <ac:chgData name="Pierugo Pace" userId="2226acec-25d1-48aa-b467-65eac8578bef" providerId="ADAL" clId="{C473F347-30E6-4F99-BD43-7C0AE76DCA8B}" dt="2024-07-10T12:28:12.257" v="7577" actId="478"/>
          <ac:spMkLst>
            <pc:docMk/>
            <pc:sldMk cId="3558043603" sldId="3260"/>
            <ac:spMk id="97" creationId="{4C5CFA87-B361-062E-5944-99E819251C1B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99" creationId="{0D108569-D4F6-9880-F052-556FB9E2C096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00" creationId="{9F4FCA40-36D9-A422-1467-CFC801DA1356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06" creationId="{9F1525A9-CAF2-90A8-9F43-65E607FA9B99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07" creationId="{F22EE94A-3873-CA72-E029-83E4F4BDE404}"/>
          </ac:spMkLst>
        </pc:spChg>
        <pc:spChg chg="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11" creationId="{5397E806-8954-D92E-46A7-E8F0D6F39E25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12" creationId="{7E51E6D2-38CF-BBCC-5309-5A62AB2E7E53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13" creationId="{51779486-56DC-6DB4-1152-D72BDD509146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14" creationId="{05CF62EA-4BB0-E72D-C868-CA7699087B5E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17" creationId="{C24B1204-B1B1-782D-F676-6354F3E97AFC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19" creationId="{A3903A9E-E01F-325F-462A-EB78F5887D19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21" creationId="{D9895A6D-0D3D-2D1E-6253-0BD0367FE5CC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22" creationId="{8C1D9082-B045-A1EE-C8BB-A2189BFC5F20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24" creationId="{7F05489E-371C-BD23-B266-F6108783EAE1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25" creationId="{F1AB79E6-A861-6269-8A4C-F55291D639D3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26" creationId="{4AA392B5-86BA-C607-3A29-D151D39CCAB7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27" creationId="{18AE1032-A6EA-4A78-AB61-6960EF4B6F73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28" creationId="{A429342A-F5DD-3CAD-02F1-516FCC8C4FB1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29" creationId="{D352ACF8-EEE1-3C28-2809-17347F7704E9}"/>
          </ac:spMkLst>
        </pc:spChg>
        <pc:spChg chg="add mod">
          <ac:chgData name="Pierugo Pace" userId="2226acec-25d1-48aa-b467-65eac8578bef" providerId="ADAL" clId="{C473F347-30E6-4F99-BD43-7C0AE76DCA8B}" dt="2024-07-10T12:48:11.438" v="7953" actId="571"/>
          <ac:spMkLst>
            <pc:docMk/>
            <pc:sldMk cId="3558043603" sldId="3260"/>
            <ac:spMk id="130" creationId="{1F1096CC-2596-552B-48DA-95DA05A092CE}"/>
          </ac:spMkLst>
        </pc:spChg>
        <pc:spChg chg="add mod">
          <ac:chgData name="Pierugo Pace" userId="2226acec-25d1-48aa-b467-65eac8578bef" providerId="ADAL" clId="{C473F347-30E6-4F99-BD43-7C0AE76DCA8B}" dt="2024-07-10T12:48:11.438" v="7953" actId="571"/>
          <ac:spMkLst>
            <pc:docMk/>
            <pc:sldMk cId="3558043603" sldId="3260"/>
            <ac:spMk id="131" creationId="{A93661E3-8CB7-008B-C666-2EA51B310282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32" creationId="{81311BC2-EADB-6F48-2329-2D3B8BB0EB4E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33" creationId="{B17FDAAC-BBFC-C79E-B1D0-77CE4BAB1FC2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34" creationId="{50171C2B-144B-9FA3-8689-328CE431E526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35" creationId="{0A284060-8B62-940D-E510-08BC25DA100E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38" creationId="{6CE93927-14FE-2E15-6762-8DEE8F1FDC51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40" creationId="{B97E9C03-E290-A924-C285-77897AB78982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41" creationId="{0D8736F2-B9E0-8F58-053B-CB1EFBC8B39B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43" creationId="{7D519E41-AFD1-41D4-FC5A-98BED12F483B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44" creationId="{308D89EF-D970-A010-DCB4-6584C46342A6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46" creationId="{40CC7811-2FD4-6CD8-2D9D-FA0C013D0CC6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47" creationId="{C5478885-DE0D-C804-F904-6ED3A7266C84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48" creationId="{37B553FF-A450-4CB2-D773-3CC14DB08E5B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49" creationId="{C21E098E-C06E-4B88-0B14-2CF6AD84EF92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52" creationId="{C1C59086-F035-1C4D-EBF9-350B528B4F2E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54" creationId="{BB9D56F8-E7EA-7DD4-7D09-CB2A42232049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55" creationId="{D0432D9A-67B7-825B-D81F-8E0211B1BF96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57" creationId="{9CAEDE9A-18DA-B53F-A40A-5A63A0959D0D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58" creationId="{81548A3C-E841-9D82-099A-3D61F9FB8D1C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60" creationId="{105B88BD-F8DB-B18D-DA3D-C3A0F005595D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61" creationId="{BAF49171-9065-BF18-0AEF-6A294B47F4A8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64" creationId="{9047D92C-F2F9-21E7-0092-C914F9074EB2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65" creationId="{7B662F79-6C34-268A-00E6-8981FF8B0DC0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66" creationId="{F83FE969-C459-688D-D474-357243DC3AB9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67" creationId="{A85F7073-245B-075F-1953-9D1EBFA54698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68" creationId="{14D9C122-E283-4B0F-92E7-533D8591F5B5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69" creationId="{590F220B-2534-99A9-7282-7E8D68C06293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70" creationId="{567BD442-7EB1-B3F0-35ED-E122D89AADB2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73" creationId="{C734C60A-7888-FB60-1C46-D372D1930100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75" creationId="{578BF8A8-C4E4-7937-7EA1-FD9E6B71C70B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77" creationId="{921DE336-75E6-C667-1B07-903ACB9C02D8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78" creationId="{FBF655C1-032C-7422-B3CB-F08838F50F94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80" creationId="{0DC5D24C-DFD3-DBD8-B542-2AFD03722171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81" creationId="{7EFD9D37-7D0A-4C69-2BD7-3476117DC1CB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82" creationId="{2030D016-952E-359F-9752-C7E6FB16A6F7}"/>
          </ac:spMkLst>
        </pc:spChg>
        <pc:spChg chg="add mod topLvl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183" creationId="{B7C82499-4DB0-AA74-0841-90E22D18214E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185" creationId="{D883BF24-6EE8-7237-B793-5BF128AB25EA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186" creationId="{3A3D212E-B378-9842-BE62-A00434350210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187" creationId="{30C913D7-4564-2072-FD18-DA5239D87319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188" creationId="{492ADDB0-C5E4-5224-6556-3441C1C35A97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191" creationId="{269F4101-37F0-1B1F-7AEC-9B3BB1E4A848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193" creationId="{CB38B879-45CD-1217-F2E2-B100DD52023B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194" creationId="{7F3B0503-D7AC-E91A-8108-7031A01EBADD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196" creationId="{BEE1FC37-A692-A8FB-C3C7-F2AC9E5D154E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197" creationId="{01A9F224-6C7D-3575-0A57-DA3F714DCF37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199" creationId="{47EDB0EA-D31C-AEE6-DDB8-3192823AAB9F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200" creationId="{A31D665A-0977-0C05-364F-086272E5D283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201" creationId="{635918F0-5BA5-A466-E591-BFD0146DE389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202" creationId="{5AA2F117-6BE9-0D17-5D96-238DE2FB97F0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205" creationId="{BA93FF5A-B3C6-F5E4-76BC-29344B5D7927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207" creationId="{3B29518F-A0E7-A96C-D323-C3861C82E382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208" creationId="{1B8F85E7-DADB-37A1-5A7E-606839A3D165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210" creationId="{B05F9F8C-F826-10D7-D7C1-50540A86B475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211" creationId="{D85EDF08-09DB-57D4-2D75-48F8BF26B0D3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213" creationId="{F1665901-121A-DFB1-CCAD-4228E0728038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214" creationId="{8AD8B2F4-D8AF-908F-6C9C-FF128BB7CBE9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217" creationId="{532B5E26-B434-7E0B-A3E1-12F6BD426FD6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218" creationId="{A2CEFD55-9F60-AF21-D818-70C41EA497EF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219" creationId="{6757E170-C9BF-F9C0-7809-33ACB12BAB1E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220" creationId="{DF68E3F0-6F7D-F70F-51C1-D89EB7C37C98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221" creationId="{C98482A0-D030-D642-B075-370882460D2E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222" creationId="{C4FCB420-1246-D337-A105-9B81C2294E9F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223" creationId="{BA20C2AF-0D5D-7C76-2329-CEBA713E861D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226" creationId="{4F5AA609-685B-1239-7DA9-2E4129212C01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228" creationId="{B10E6464-11B3-83F4-059B-413E1460F7C4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230" creationId="{56C841AB-35C5-1477-9096-0E919433554C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231" creationId="{95523736-4370-21D7-979C-9F9162FB71FF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233" creationId="{25BD62A6-21CD-4168-A2DD-E4B9930FB7AB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234" creationId="{28886849-A2C0-71FC-5C40-758771096757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235" creationId="{6ED4ACED-9545-6A58-2A87-3392FAA83CA8}"/>
          </ac:spMkLst>
        </pc:spChg>
        <pc:spChg chg="add mod">
          <ac:chgData name="Pierugo Pace" userId="2226acec-25d1-48aa-b467-65eac8578bef" providerId="ADAL" clId="{C473F347-30E6-4F99-BD43-7C0AE76DCA8B}" dt="2024-07-10T12:58:31.670" v="8070" actId="571"/>
          <ac:spMkLst>
            <pc:docMk/>
            <pc:sldMk cId="3558043603" sldId="3260"/>
            <ac:spMk id="236" creationId="{EE5E20C6-C256-9359-8548-C12C051C5485}"/>
          </ac:spMkLst>
        </pc:spChg>
        <pc:spChg chg="add mod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237" creationId="{FB5441B0-E0F2-883C-A34D-4CFBBB8E6A39}"/>
          </ac:spMkLst>
        </pc:spChg>
        <pc:spChg chg="add mod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238" creationId="{6F74E6F4-FEB3-CA78-F25E-A4C49038BEF0}"/>
          </ac:spMkLst>
        </pc:spChg>
        <pc:spChg chg="add mod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239" creationId="{A4D8593D-3A6C-A26A-DFDB-C94BBA32B01C}"/>
          </ac:spMkLst>
        </pc:spChg>
        <pc:spChg chg="add mod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242" creationId="{644293C3-52F4-A597-1D19-DF2141E8DC6C}"/>
          </ac:spMkLst>
        </pc:spChg>
        <pc:spChg chg="add mod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244" creationId="{3E49E179-6033-B67A-6F10-6C8313546E8B}"/>
          </ac:spMkLst>
        </pc:spChg>
        <pc:spChg chg="add mod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246" creationId="{694DF81A-7B8E-E986-A088-4BF54269E33B}"/>
          </ac:spMkLst>
        </pc:spChg>
        <pc:spChg chg="add mod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247" creationId="{BDEB08CE-0ACC-9A4E-EBE4-1FDC3A312978}"/>
          </ac:spMkLst>
        </pc:spChg>
        <pc:spChg chg="add mod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249" creationId="{17ED160D-A3E3-2EC2-B708-396AC4A44235}"/>
          </ac:spMkLst>
        </pc:spChg>
        <pc:spChg chg="add mod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250" creationId="{BE0FFCB6-1020-45F4-CBD7-B7DA87C79622}"/>
          </ac:spMkLst>
        </pc:spChg>
        <pc:spChg chg="add mod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251" creationId="{E6AA4293-E376-88B7-FBCA-D58284EB968F}"/>
          </ac:spMkLst>
        </pc:spChg>
        <pc:spChg chg="add mod">
          <ac:chgData name="Pierugo Pace" userId="2226acec-25d1-48aa-b467-65eac8578bef" providerId="ADAL" clId="{C473F347-30E6-4F99-BD43-7C0AE76DCA8B}" dt="2024-07-10T13:07:29.150" v="8154" actId="164"/>
          <ac:spMkLst>
            <pc:docMk/>
            <pc:sldMk cId="3558043603" sldId="3260"/>
            <ac:spMk id="252" creationId="{EDEFEF04-5171-7235-A99B-4E19678911E7}"/>
          </ac:spMkLst>
        </pc:spChg>
        <pc:grpChg chg="add del mod">
          <ac:chgData name="Pierugo Pace" userId="2226acec-25d1-48aa-b467-65eac8578bef" providerId="ADAL" clId="{C473F347-30E6-4F99-BD43-7C0AE76DCA8B}" dt="2024-07-10T12:46:23.681" v="7928" actId="165"/>
          <ac:grpSpMkLst>
            <pc:docMk/>
            <pc:sldMk cId="3558043603" sldId="3260"/>
            <ac:grpSpMk id="2" creationId="{1B50E34D-9E1D-B720-D3F4-015C8523E6D8}"/>
          </ac:grpSpMkLst>
        </pc:grpChg>
        <pc:grpChg chg="del">
          <ac:chgData name="Pierugo Pace" userId="2226acec-25d1-48aa-b467-65eac8578bef" providerId="ADAL" clId="{C473F347-30E6-4F99-BD43-7C0AE76DCA8B}" dt="2024-07-10T12:28:07.762" v="7575" actId="478"/>
          <ac:grpSpMkLst>
            <pc:docMk/>
            <pc:sldMk cId="3558043603" sldId="3260"/>
            <ac:grpSpMk id="104" creationId="{6F9DA5A2-C9F3-64DC-3BE8-B5485B65FCD4}"/>
          </ac:grpSpMkLst>
        </pc:grpChg>
        <pc:grpChg chg="del">
          <ac:chgData name="Pierugo Pace" userId="2226acec-25d1-48aa-b467-65eac8578bef" providerId="ADAL" clId="{C473F347-30E6-4F99-BD43-7C0AE76DCA8B}" dt="2024-07-10T12:28:31.318" v="7590" actId="478"/>
          <ac:grpSpMkLst>
            <pc:docMk/>
            <pc:sldMk cId="3558043603" sldId="3260"/>
            <ac:grpSpMk id="105" creationId="{E32024C2-22CC-AFC6-58C0-56BF51DC608D}"/>
          </ac:grpSpMkLst>
        </pc:grpChg>
        <pc:grpChg chg="add del mod">
          <ac:chgData name="Pierugo Pace" userId="2226acec-25d1-48aa-b467-65eac8578bef" providerId="ADAL" clId="{C473F347-30E6-4F99-BD43-7C0AE76DCA8B}" dt="2024-07-10T12:56:45.304" v="8055" actId="165"/>
          <ac:grpSpMkLst>
            <pc:docMk/>
            <pc:sldMk cId="3558043603" sldId="3260"/>
            <ac:grpSpMk id="184" creationId="{C0FC0FC2-0150-0316-23C4-1409AF5CF0DF}"/>
          </ac:grpSpMkLst>
        </pc:grpChg>
        <pc:grpChg chg="add del mod">
          <ac:chgData name="Pierugo Pace" userId="2226acec-25d1-48aa-b467-65eac8578bef" providerId="ADAL" clId="{C473F347-30E6-4F99-BD43-7C0AE76DCA8B}" dt="2024-07-10T13:05:09.238" v="8142" actId="165"/>
          <ac:grpSpMkLst>
            <pc:docMk/>
            <pc:sldMk cId="3558043603" sldId="3260"/>
            <ac:grpSpMk id="268" creationId="{53BE257B-38AD-DFB0-8E54-0D0717BA77A9}"/>
          </ac:grpSpMkLst>
        </pc:grpChg>
        <pc:grpChg chg="add mod">
          <ac:chgData name="Pierugo Pace" userId="2226acec-25d1-48aa-b467-65eac8578bef" providerId="ADAL" clId="{C473F347-30E6-4F99-BD43-7C0AE76DCA8B}" dt="2024-07-10T13:07:29.150" v="8154" actId="164"/>
          <ac:grpSpMkLst>
            <pc:docMk/>
            <pc:sldMk cId="3558043603" sldId="3260"/>
            <ac:grpSpMk id="277" creationId="{9062CB4F-EACA-7858-A17C-6EFA7E33E02D}"/>
          </ac:grpSpMkLst>
        </pc:grpChg>
        <pc:cxnChg chg="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14" creationId="{25A7C175-E355-07F1-CA67-B0C75430401F}"/>
          </ac:cxnSpMkLst>
        </pc:cxnChg>
        <pc:cxnChg chg="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16" creationId="{A31D24F8-3571-4B09-729D-196B574190B9}"/>
          </ac:cxnSpMkLst>
        </pc:cxnChg>
        <pc:cxnChg chg="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20" creationId="{EF65F0AA-1BEE-6463-E7AF-60EDBE73D9DD}"/>
          </ac:cxnSpMkLst>
        </pc:cxnChg>
        <pc:cxnChg chg="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29" creationId="{670B95E5-31A5-92EC-E027-74581C03834E}"/>
          </ac:cxnSpMkLst>
        </pc:cxnChg>
        <pc:cxnChg chg="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34" creationId="{0E3B7998-EF7B-62DB-5ED8-2FD61913F775}"/>
          </ac:cxnSpMkLst>
        </pc:cxnChg>
        <pc:cxnChg chg="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37" creationId="{EA03E5A5-36A2-51D3-42C6-1AE40E0883A3}"/>
          </ac:cxnSpMkLst>
        </pc:cxnChg>
        <pc:cxnChg chg="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44" creationId="{F2503D0D-E77A-E0FE-EDA2-9542FCF25CFD}"/>
          </ac:cxnSpMkLst>
        </pc:cxnChg>
        <pc:cxnChg chg="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50" creationId="{F3B8245B-09B9-23AF-CE1D-3129F416D385}"/>
          </ac:cxnSpMkLst>
        </pc:cxnChg>
        <pc:cxnChg chg="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51" creationId="{2CD35325-0BFE-8482-5CA4-6034D17578E2}"/>
          </ac:cxnSpMkLst>
        </pc:cxnChg>
        <pc:cxnChg chg="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53" creationId="{FAFF03F4-C668-3D7A-8495-0C773831F678}"/>
          </ac:cxnSpMkLst>
        </pc:cxnChg>
        <pc:cxnChg chg="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55" creationId="{6800995D-47C3-3E8E-6023-7E80BC473129}"/>
          </ac:cxnSpMkLst>
        </pc:cxnChg>
        <pc:cxnChg chg="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58" creationId="{4539D391-4625-1B2C-26DB-F4B75C4DD9C0}"/>
          </ac:cxnSpMkLst>
        </pc:cxnChg>
        <pc:cxnChg chg="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69" creationId="{FA421E76-95B2-01BB-E9D1-CE0AE13F6FE0}"/>
          </ac:cxnSpMkLst>
        </pc:cxnChg>
        <pc:cxnChg chg="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70" creationId="{4185799C-B24C-E2A5-09D3-3AF87B5CE02B}"/>
          </ac:cxnSpMkLst>
        </pc:cxnChg>
        <pc:cxnChg chg="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76" creationId="{876C5AC8-8FE8-BBB6-66D5-D8D84FAB0876}"/>
          </ac:cxnSpMkLst>
        </pc:cxnChg>
        <pc:cxnChg chg="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89" creationId="{036AA242-EF32-0D22-E5AA-57EEB78BE89B}"/>
          </ac:cxnSpMkLst>
        </pc:cxnChg>
        <pc:cxnChg chg="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98" creationId="{A0374BEC-C6F9-08CA-6137-4CC44B817DCD}"/>
          </ac:cxnSpMkLst>
        </pc:cxnChg>
        <pc:cxnChg chg="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108" creationId="{4FDB3CE6-A67D-DD30-8E03-C1E69169B535}"/>
          </ac:cxnSpMkLst>
        </pc:cxnChg>
        <pc:cxnChg chg="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109" creationId="{F83B72F3-8687-A66C-335F-38417435490A}"/>
          </ac:cxnSpMkLst>
        </pc:cxnChg>
        <pc:cxnChg chg="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110" creationId="{4B93C6B1-30DB-04C5-3D6D-E4AC4D2CFC55}"/>
          </ac:cxnSpMkLst>
        </pc:cxnChg>
        <pc:cxnChg chg="add 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115" creationId="{1B73A163-BD86-6DFC-A1D0-DA69BACFFD4C}"/>
          </ac:cxnSpMkLst>
        </pc:cxnChg>
        <pc:cxnChg chg="add 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116" creationId="{DDA38A06-A36B-A687-FA3E-E8776606FFF3}"/>
          </ac:cxnSpMkLst>
        </pc:cxnChg>
        <pc:cxnChg chg="add 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118" creationId="{B74F7984-D9B1-3EC8-61FB-49A7E7CD9963}"/>
          </ac:cxnSpMkLst>
        </pc:cxnChg>
        <pc:cxnChg chg="add 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120" creationId="{84B7E7C8-76A7-E88F-AC2F-7B4769CAEEBA}"/>
          </ac:cxnSpMkLst>
        </pc:cxnChg>
        <pc:cxnChg chg="add 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123" creationId="{CAAFD700-12A3-F3FD-7F8A-723B7AD2CBED}"/>
          </ac:cxnSpMkLst>
        </pc:cxnChg>
        <pc:cxnChg chg="add 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136" creationId="{CBFD78B5-39E2-F01A-012A-507CD27C1AAC}"/>
          </ac:cxnSpMkLst>
        </pc:cxnChg>
        <pc:cxnChg chg="add 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137" creationId="{2747B555-DBC9-7465-69AD-7DD40864E460}"/>
          </ac:cxnSpMkLst>
        </pc:cxnChg>
        <pc:cxnChg chg="add 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139" creationId="{EFCB2D6B-A797-BD9E-A7B7-1B3755F32124}"/>
          </ac:cxnSpMkLst>
        </pc:cxnChg>
        <pc:cxnChg chg="add 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142" creationId="{9F6FADDA-899D-492A-C2F7-345F8F0C4EC3}"/>
          </ac:cxnSpMkLst>
        </pc:cxnChg>
        <pc:cxnChg chg="add 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145" creationId="{AC0DC2BB-66F8-2CF7-ACC4-32A27AA23B88}"/>
          </ac:cxnSpMkLst>
        </pc:cxnChg>
        <pc:cxnChg chg="add 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150" creationId="{7357E48C-5564-CEFF-1B63-312CDB5F55C2}"/>
          </ac:cxnSpMkLst>
        </pc:cxnChg>
        <pc:cxnChg chg="add 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151" creationId="{4721FF1A-7364-0936-A1BC-40587D5B6186}"/>
          </ac:cxnSpMkLst>
        </pc:cxnChg>
        <pc:cxnChg chg="add 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153" creationId="{4CAFF1C8-0609-A0FE-94BE-EDCC001E93B4}"/>
          </ac:cxnSpMkLst>
        </pc:cxnChg>
        <pc:cxnChg chg="add 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156" creationId="{4C15934A-C32D-D885-20F7-F78E5F1DC11C}"/>
          </ac:cxnSpMkLst>
        </pc:cxnChg>
        <pc:cxnChg chg="add 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159" creationId="{AEE68F61-3A32-170F-DE22-EE23B7358D72}"/>
          </ac:cxnSpMkLst>
        </pc:cxnChg>
        <pc:cxnChg chg="add 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162" creationId="{72458753-7A81-CF10-A5C9-8D519EB9A79A}"/>
          </ac:cxnSpMkLst>
        </pc:cxnChg>
        <pc:cxnChg chg="add 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163" creationId="{38DE6B20-18C0-7078-27D2-EB1419BBD415}"/>
          </ac:cxnSpMkLst>
        </pc:cxnChg>
        <pc:cxnChg chg="add 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171" creationId="{1D564134-2A09-2446-BEB1-97C393857D68}"/>
          </ac:cxnSpMkLst>
        </pc:cxnChg>
        <pc:cxnChg chg="add 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172" creationId="{95404911-7A2A-E171-65A4-D20CA5FEB4C9}"/>
          </ac:cxnSpMkLst>
        </pc:cxnChg>
        <pc:cxnChg chg="add 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174" creationId="{8DC36C93-F63C-B35C-17F4-EBCF0BA6DD83}"/>
          </ac:cxnSpMkLst>
        </pc:cxnChg>
        <pc:cxnChg chg="add 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176" creationId="{BFCFEE56-9403-895E-96C3-E6EC97368314}"/>
          </ac:cxnSpMkLst>
        </pc:cxnChg>
        <pc:cxnChg chg="add mod topLvl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179" creationId="{5F59EA29-96D0-3F44-E92C-18A75BFEE7A8}"/>
          </ac:cxnSpMkLst>
        </pc:cxnChg>
        <pc:cxnChg chg="add mod">
          <ac:chgData name="Pierugo Pace" userId="2226acec-25d1-48aa-b467-65eac8578bef" providerId="ADAL" clId="{C473F347-30E6-4F99-BD43-7C0AE76DCA8B}" dt="2024-07-10T12:58:31.670" v="8070" actId="571"/>
          <ac:cxnSpMkLst>
            <pc:docMk/>
            <pc:sldMk cId="3558043603" sldId="3260"/>
            <ac:cxnSpMk id="189" creationId="{EF505449-B0CE-1466-8580-3AA3E6E53313}"/>
          </ac:cxnSpMkLst>
        </pc:cxnChg>
        <pc:cxnChg chg="add mod">
          <ac:chgData name="Pierugo Pace" userId="2226acec-25d1-48aa-b467-65eac8578bef" providerId="ADAL" clId="{C473F347-30E6-4F99-BD43-7C0AE76DCA8B}" dt="2024-07-10T12:58:31.670" v="8070" actId="571"/>
          <ac:cxnSpMkLst>
            <pc:docMk/>
            <pc:sldMk cId="3558043603" sldId="3260"/>
            <ac:cxnSpMk id="190" creationId="{B8CB55C9-74E5-0E14-E209-9AB132B2F1FB}"/>
          </ac:cxnSpMkLst>
        </pc:cxnChg>
        <pc:cxnChg chg="add mod">
          <ac:chgData name="Pierugo Pace" userId="2226acec-25d1-48aa-b467-65eac8578bef" providerId="ADAL" clId="{C473F347-30E6-4F99-BD43-7C0AE76DCA8B}" dt="2024-07-10T12:58:31.670" v="8070" actId="571"/>
          <ac:cxnSpMkLst>
            <pc:docMk/>
            <pc:sldMk cId="3558043603" sldId="3260"/>
            <ac:cxnSpMk id="192" creationId="{36195D3E-98CE-4F33-C1A0-81AA99559BDF}"/>
          </ac:cxnSpMkLst>
        </pc:cxnChg>
        <pc:cxnChg chg="add mod">
          <ac:chgData name="Pierugo Pace" userId="2226acec-25d1-48aa-b467-65eac8578bef" providerId="ADAL" clId="{C473F347-30E6-4F99-BD43-7C0AE76DCA8B}" dt="2024-07-10T12:58:31.670" v="8070" actId="571"/>
          <ac:cxnSpMkLst>
            <pc:docMk/>
            <pc:sldMk cId="3558043603" sldId="3260"/>
            <ac:cxnSpMk id="195" creationId="{4FBB33A9-5169-A9BC-A343-25B6B3ACF2A6}"/>
          </ac:cxnSpMkLst>
        </pc:cxnChg>
        <pc:cxnChg chg="add mod">
          <ac:chgData name="Pierugo Pace" userId="2226acec-25d1-48aa-b467-65eac8578bef" providerId="ADAL" clId="{C473F347-30E6-4F99-BD43-7C0AE76DCA8B}" dt="2024-07-10T12:58:31.670" v="8070" actId="571"/>
          <ac:cxnSpMkLst>
            <pc:docMk/>
            <pc:sldMk cId="3558043603" sldId="3260"/>
            <ac:cxnSpMk id="198" creationId="{56F74DC9-EA59-F09B-00F0-66A118EA6C82}"/>
          </ac:cxnSpMkLst>
        </pc:cxnChg>
        <pc:cxnChg chg="add mod">
          <ac:chgData name="Pierugo Pace" userId="2226acec-25d1-48aa-b467-65eac8578bef" providerId="ADAL" clId="{C473F347-30E6-4F99-BD43-7C0AE76DCA8B}" dt="2024-07-10T12:58:31.670" v="8070" actId="571"/>
          <ac:cxnSpMkLst>
            <pc:docMk/>
            <pc:sldMk cId="3558043603" sldId="3260"/>
            <ac:cxnSpMk id="203" creationId="{127D7E27-4C29-E9AF-BDAE-7BFD1E428124}"/>
          </ac:cxnSpMkLst>
        </pc:cxnChg>
        <pc:cxnChg chg="add mod">
          <ac:chgData name="Pierugo Pace" userId="2226acec-25d1-48aa-b467-65eac8578bef" providerId="ADAL" clId="{C473F347-30E6-4F99-BD43-7C0AE76DCA8B}" dt="2024-07-10T12:58:31.670" v="8070" actId="571"/>
          <ac:cxnSpMkLst>
            <pc:docMk/>
            <pc:sldMk cId="3558043603" sldId="3260"/>
            <ac:cxnSpMk id="204" creationId="{E52B2CDC-EA37-9000-BD44-46F1F5070257}"/>
          </ac:cxnSpMkLst>
        </pc:cxnChg>
        <pc:cxnChg chg="add mod">
          <ac:chgData name="Pierugo Pace" userId="2226acec-25d1-48aa-b467-65eac8578bef" providerId="ADAL" clId="{C473F347-30E6-4F99-BD43-7C0AE76DCA8B}" dt="2024-07-10T12:58:31.670" v="8070" actId="571"/>
          <ac:cxnSpMkLst>
            <pc:docMk/>
            <pc:sldMk cId="3558043603" sldId="3260"/>
            <ac:cxnSpMk id="206" creationId="{0BF6AF19-8E2D-721F-8F89-5A5193C1C8E1}"/>
          </ac:cxnSpMkLst>
        </pc:cxnChg>
        <pc:cxnChg chg="add mod">
          <ac:chgData name="Pierugo Pace" userId="2226acec-25d1-48aa-b467-65eac8578bef" providerId="ADAL" clId="{C473F347-30E6-4F99-BD43-7C0AE76DCA8B}" dt="2024-07-10T12:58:31.670" v="8070" actId="571"/>
          <ac:cxnSpMkLst>
            <pc:docMk/>
            <pc:sldMk cId="3558043603" sldId="3260"/>
            <ac:cxnSpMk id="209" creationId="{5520607F-B97B-C62F-4221-CE9B095933BC}"/>
          </ac:cxnSpMkLst>
        </pc:cxnChg>
        <pc:cxnChg chg="add mod">
          <ac:chgData name="Pierugo Pace" userId="2226acec-25d1-48aa-b467-65eac8578bef" providerId="ADAL" clId="{C473F347-30E6-4F99-BD43-7C0AE76DCA8B}" dt="2024-07-10T12:58:31.670" v="8070" actId="571"/>
          <ac:cxnSpMkLst>
            <pc:docMk/>
            <pc:sldMk cId="3558043603" sldId="3260"/>
            <ac:cxnSpMk id="212" creationId="{96AA9FF0-39EB-E9CF-A8A5-5164D1DC0EE6}"/>
          </ac:cxnSpMkLst>
        </pc:cxnChg>
        <pc:cxnChg chg="add mod">
          <ac:chgData name="Pierugo Pace" userId="2226acec-25d1-48aa-b467-65eac8578bef" providerId="ADAL" clId="{C473F347-30E6-4F99-BD43-7C0AE76DCA8B}" dt="2024-07-10T12:58:31.670" v="8070" actId="571"/>
          <ac:cxnSpMkLst>
            <pc:docMk/>
            <pc:sldMk cId="3558043603" sldId="3260"/>
            <ac:cxnSpMk id="215" creationId="{8387FE93-DC16-C880-B2DC-43BF53559E4E}"/>
          </ac:cxnSpMkLst>
        </pc:cxnChg>
        <pc:cxnChg chg="add mod">
          <ac:chgData name="Pierugo Pace" userId="2226acec-25d1-48aa-b467-65eac8578bef" providerId="ADAL" clId="{C473F347-30E6-4F99-BD43-7C0AE76DCA8B}" dt="2024-07-10T12:58:31.670" v="8070" actId="571"/>
          <ac:cxnSpMkLst>
            <pc:docMk/>
            <pc:sldMk cId="3558043603" sldId="3260"/>
            <ac:cxnSpMk id="216" creationId="{4444C9F3-BD71-5AD0-0461-29F989E13032}"/>
          </ac:cxnSpMkLst>
        </pc:cxnChg>
        <pc:cxnChg chg="add mod">
          <ac:chgData name="Pierugo Pace" userId="2226acec-25d1-48aa-b467-65eac8578bef" providerId="ADAL" clId="{C473F347-30E6-4F99-BD43-7C0AE76DCA8B}" dt="2024-07-10T12:58:31.670" v="8070" actId="571"/>
          <ac:cxnSpMkLst>
            <pc:docMk/>
            <pc:sldMk cId="3558043603" sldId="3260"/>
            <ac:cxnSpMk id="224" creationId="{F25C931B-C767-5645-DD74-0302132FFCDF}"/>
          </ac:cxnSpMkLst>
        </pc:cxnChg>
        <pc:cxnChg chg="add mod">
          <ac:chgData name="Pierugo Pace" userId="2226acec-25d1-48aa-b467-65eac8578bef" providerId="ADAL" clId="{C473F347-30E6-4F99-BD43-7C0AE76DCA8B}" dt="2024-07-10T12:58:31.670" v="8070" actId="571"/>
          <ac:cxnSpMkLst>
            <pc:docMk/>
            <pc:sldMk cId="3558043603" sldId="3260"/>
            <ac:cxnSpMk id="225" creationId="{5D1E5399-36EB-3BEF-7490-D540F294B1B1}"/>
          </ac:cxnSpMkLst>
        </pc:cxnChg>
        <pc:cxnChg chg="add mod">
          <ac:chgData name="Pierugo Pace" userId="2226acec-25d1-48aa-b467-65eac8578bef" providerId="ADAL" clId="{C473F347-30E6-4F99-BD43-7C0AE76DCA8B}" dt="2024-07-10T12:58:31.670" v="8070" actId="571"/>
          <ac:cxnSpMkLst>
            <pc:docMk/>
            <pc:sldMk cId="3558043603" sldId="3260"/>
            <ac:cxnSpMk id="227" creationId="{0A4DF7F7-47D0-2AEE-F02C-4406BCB4E48A}"/>
          </ac:cxnSpMkLst>
        </pc:cxnChg>
        <pc:cxnChg chg="add mod">
          <ac:chgData name="Pierugo Pace" userId="2226acec-25d1-48aa-b467-65eac8578bef" providerId="ADAL" clId="{C473F347-30E6-4F99-BD43-7C0AE76DCA8B}" dt="2024-07-10T12:58:31.670" v="8070" actId="571"/>
          <ac:cxnSpMkLst>
            <pc:docMk/>
            <pc:sldMk cId="3558043603" sldId="3260"/>
            <ac:cxnSpMk id="229" creationId="{FD120CF3-DC83-AC9F-DBC6-A0C99CEF8AB2}"/>
          </ac:cxnSpMkLst>
        </pc:cxnChg>
        <pc:cxnChg chg="add mod">
          <ac:chgData name="Pierugo Pace" userId="2226acec-25d1-48aa-b467-65eac8578bef" providerId="ADAL" clId="{C473F347-30E6-4F99-BD43-7C0AE76DCA8B}" dt="2024-07-10T12:58:31.670" v="8070" actId="571"/>
          <ac:cxnSpMkLst>
            <pc:docMk/>
            <pc:sldMk cId="3558043603" sldId="3260"/>
            <ac:cxnSpMk id="232" creationId="{F925B144-B2D2-570A-63DF-1A7DCE56F207}"/>
          </ac:cxnSpMkLst>
        </pc:cxnChg>
        <pc:cxnChg chg="add mod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240" creationId="{1953E949-D25E-B3EA-28D2-291607AE42B0}"/>
          </ac:cxnSpMkLst>
        </pc:cxnChg>
        <pc:cxnChg chg="add mod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241" creationId="{87BA9721-7945-38F2-B43D-AB99EE2902A9}"/>
          </ac:cxnSpMkLst>
        </pc:cxnChg>
        <pc:cxnChg chg="add mod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243" creationId="{7BAA1A2E-2CCD-98D1-1611-C22551A9A51F}"/>
          </ac:cxnSpMkLst>
        </pc:cxnChg>
        <pc:cxnChg chg="add mod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245" creationId="{25CFBDFC-FDA7-A2F9-7C01-DAD370054DBC}"/>
          </ac:cxnSpMkLst>
        </pc:cxnChg>
        <pc:cxnChg chg="add mod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248" creationId="{E9913985-6CF4-7EC3-CBA0-62A0067CFAEB}"/>
          </ac:cxnSpMkLst>
        </pc:cxnChg>
        <pc:cxnChg chg="add mod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253" creationId="{AD86BCEB-2DCA-60A2-BE15-74C77FFFC74B}"/>
          </ac:cxnSpMkLst>
        </pc:cxnChg>
        <pc:cxnChg chg="add mod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255" creationId="{379F054E-901C-A52B-BA12-69A0E9AB4BB5}"/>
          </ac:cxnSpMkLst>
        </pc:cxnChg>
        <pc:cxnChg chg="add mod">
          <ac:chgData name="Pierugo Pace" userId="2226acec-25d1-48aa-b467-65eac8578bef" providerId="ADAL" clId="{C473F347-30E6-4F99-BD43-7C0AE76DCA8B}" dt="2024-07-10T13:07:29.150" v="8154" actId="164"/>
          <ac:cxnSpMkLst>
            <pc:docMk/>
            <pc:sldMk cId="3558043603" sldId="3260"/>
            <ac:cxnSpMk id="257" creationId="{C6FF4277-A4AB-CC2B-1F92-1FE48F54080A}"/>
          </ac:cxnSpMkLst>
        </pc:cxnChg>
        <pc:cxnChg chg="add mod">
          <ac:chgData name="Pierugo Pace" userId="2226acec-25d1-48aa-b467-65eac8578bef" providerId="ADAL" clId="{C473F347-30E6-4F99-BD43-7C0AE76DCA8B}" dt="2024-07-10T13:03:43.305" v="8130" actId="1076"/>
          <ac:cxnSpMkLst>
            <pc:docMk/>
            <pc:sldMk cId="3558043603" sldId="3260"/>
            <ac:cxnSpMk id="259" creationId="{22464EB5-21FA-A853-C324-B721C830D98B}"/>
          </ac:cxnSpMkLst>
        </pc:cxnChg>
      </pc:sldChg>
      <pc:sldChg chg="addSp delSp modSp add mod ord modShow">
        <pc:chgData name="Pierugo Pace" userId="2226acec-25d1-48aa-b467-65eac8578bef" providerId="ADAL" clId="{C473F347-30E6-4F99-BD43-7C0AE76DCA8B}" dt="2024-07-10T13:00:49.901" v="8103" actId="1076"/>
        <pc:sldMkLst>
          <pc:docMk/>
          <pc:sldMk cId="548524054" sldId="3261"/>
        </pc:sldMkLst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3" creationId="{48467868-2449-DC10-DD32-3B102F5A44A3}"/>
          </ac:spMkLst>
        </pc:spChg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4" creationId="{370D67FC-6B77-1C3E-0577-FFEFDC667B67}"/>
          </ac:spMkLst>
        </pc:spChg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5" creationId="{915B382A-6A03-F33C-A0F6-74D72A29E9BF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6" creationId="{CAB28A18-CAB2-0C01-B5AE-F4E7DB249523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8" creationId="{D8EEBD37-2F76-797A-C4A7-7E2896E827B2}"/>
          </ac:spMkLst>
        </pc:spChg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10" creationId="{B80566C9-12DB-EAD8-3BDE-8501A28EF58B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13" creationId="{9BA933BD-A7A9-1598-D343-33AEB0B6D394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15" creationId="{6C9CA1DA-1F11-3923-1C2C-C436D5D584C2}"/>
          </ac:spMkLst>
        </pc:spChg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17" creationId="{DA34640C-21BF-FFD5-A9A7-64F9EE78A35C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18" creationId="{58798B16-87F3-4829-7C17-EDD615EFAC11}"/>
          </ac:spMkLst>
        </pc:spChg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19" creationId="{519FBEE0-C313-CE5D-C336-D74D55FA46E2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20" creationId="{D6A9E7D6-5A22-CAC4-6813-0E9D5AC8D705}"/>
          </ac:spMkLst>
        </pc:spChg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22" creationId="{5E1A6FA3-450D-882B-E55F-FCEC722EFBBC}"/>
          </ac:spMkLst>
        </pc:spChg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23" creationId="{9A15C805-A6D5-3C06-BDA5-CD974493CB4B}"/>
          </ac:spMkLst>
        </pc:spChg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26" creationId="{3E7C058E-AB30-6D83-34BC-6A2EE4473A38}"/>
          </ac:spMkLst>
        </pc:spChg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28" creationId="{72C8EAB9-F625-1118-A384-638E4FCE2A63}"/>
          </ac:spMkLst>
        </pc:spChg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30" creationId="{31D609C8-2F3E-14CE-A965-F02EAAA5529A}"/>
          </ac:spMkLst>
        </pc:spChg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32" creationId="{EC8EF652-8D48-4898-A61D-9AABB00935FD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33" creationId="{42262F02-A48A-61E6-48E2-20E0D6E766AA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34" creationId="{5FEE47FA-322E-6B4D-2704-CFE205457AD6}"/>
          </ac:spMkLst>
        </pc:spChg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39" creationId="{FBAEE39A-F0DF-04C3-4758-C159E1DE830F}"/>
          </ac:spMkLst>
        </pc:spChg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41" creationId="{28DA578F-306A-B5A5-7899-FDF719A152B8}"/>
          </ac:spMkLst>
        </pc:spChg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43" creationId="{59CC3189-BE11-9591-C3C6-328F7BE6B0D1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53" creationId="{4778F096-A4C2-59B7-ADA5-A7BC62BEA96C}"/>
          </ac:spMkLst>
        </pc:spChg>
        <pc:spChg chg="mod">
          <ac:chgData name="Pierugo Pace" userId="2226acec-25d1-48aa-b467-65eac8578bef" providerId="ADAL" clId="{C473F347-30E6-4F99-BD43-7C0AE76DCA8B}" dt="2024-07-10T12:37:44.345" v="7779" actId="20577"/>
          <ac:spMkLst>
            <pc:docMk/>
            <pc:sldMk cId="548524054" sldId="3261"/>
            <ac:spMk id="54" creationId="{D307238B-4ED8-68FB-96C8-DFE2E70D7215}"/>
          </ac:spMkLst>
        </pc:spChg>
        <pc:spChg chg="mod">
          <ac:chgData name="Pierugo Pace" userId="2226acec-25d1-48aa-b467-65eac8578bef" providerId="ADAL" clId="{C473F347-30E6-4F99-BD43-7C0AE76DCA8B}" dt="2024-07-10T12:41:59.337" v="7853" actId="14100"/>
          <ac:spMkLst>
            <pc:docMk/>
            <pc:sldMk cId="548524054" sldId="3261"/>
            <ac:spMk id="55" creationId="{D4B75098-A40F-043A-DA8E-B218E3F039DB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56" creationId="{97A1E7D1-D079-A3E9-0743-F00363A5CA72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59" creationId="{E5AAB930-53F0-33D9-AFAD-6AA9077881A7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62" creationId="{60153ED5-7725-0949-5821-ABD706E68284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65" creationId="{5ADE4285-D509-C619-F134-14AB9FC65F4A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67" creationId="{47222931-9076-A407-98EA-AFD36A03334B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68" creationId="{602BC106-B7A0-81B2-2BBE-A8BEAF231DDC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70" creationId="{F21317AE-0735-54AC-49CC-9FA74C397A05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71" creationId="{96483E4A-3D12-1335-D151-3C81125044F6}"/>
          </ac:spMkLst>
        </pc:spChg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78" creationId="{508D517A-3775-4380-BDDC-1E6BD8849CB8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79" creationId="{DA40EAD0-158A-4D07-4232-DAFA2205AD8B}"/>
          </ac:spMkLst>
        </pc:spChg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80" creationId="{A200EAD6-1F5D-9338-4DC3-30E9D69F89FD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88" creationId="{D29F1EDB-7D9C-D7F5-C58A-F96D34EA24BC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89" creationId="{B6715932-18ED-474F-5208-186618337BAE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90" creationId="{82781DCD-3428-C54B-C5BC-08906483E969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92" creationId="{C3CE84DF-E8A0-14E9-1F33-77DAB99044A8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93" creationId="{BBA13A9C-37AE-43B5-F519-09F5D2E9843C}"/>
          </ac:spMkLst>
        </pc:spChg>
        <pc:spChg chg="del mod">
          <ac:chgData name="Pierugo Pace" userId="2226acec-25d1-48aa-b467-65eac8578bef" providerId="ADAL" clId="{C473F347-30E6-4F99-BD43-7C0AE76DCA8B}" dt="2024-07-10T12:13:09.578" v="7453" actId="478"/>
          <ac:spMkLst>
            <pc:docMk/>
            <pc:sldMk cId="548524054" sldId="3261"/>
            <ac:spMk id="94" creationId="{9BC3C67E-D2BF-D74B-392C-33530CDC958A}"/>
          </ac:spMkLst>
        </pc:spChg>
        <pc:spChg chg="del">
          <ac:chgData name="Pierugo Pace" userId="2226acec-25d1-48aa-b467-65eac8578bef" providerId="ADAL" clId="{C473F347-30E6-4F99-BD43-7C0AE76DCA8B}" dt="2024-07-10T12:12:24.992" v="7443" actId="478"/>
          <ac:spMkLst>
            <pc:docMk/>
            <pc:sldMk cId="548524054" sldId="3261"/>
            <ac:spMk id="95" creationId="{9427C599-1472-05C3-522F-B117DFE4AE68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97" creationId="{D13946CB-A907-49E4-E9D3-39799E334BB7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98" creationId="{FF9321B8-B850-B294-610D-7D289AECF975}"/>
          </ac:spMkLst>
        </pc:spChg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119" creationId="{9850D44B-D043-0C71-4CAA-841319C53AE2}"/>
          </ac:spMkLst>
        </pc:spChg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121" creationId="{3018A7FE-9EA2-8D91-3804-98F8E7762D28}"/>
          </ac:spMkLst>
        </pc:spChg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124" creationId="{BA0D3270-998C-89C6-B7B6-E5198828A989}"/>
          </ac:spMkLst>
        </pc:spChg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126" creationId="{40A7B879-0140-4829-D948-8A778BFED56A}"/>
          </ac:spMkLst>
        </pc:spChg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127" creationId="{CC2A1F1A-6026-BCB6-3BC6-93F282746A5A}"/>
          </ac:spMkLst>
        </pc:spChg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129" creationId="{10E13B05-9F45-7E20-92E1-8C9EEE155BCF}"/>
          </ac:spMkLst>
        </pc:spChg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130" creationId="{C862A2AA-547C-8AAC-F472-426A60367883}"/>
          </ac:spMkLst>
        </pc:spChg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132" creationId="{20C72002-9645-3904-D97E-C0F768209A58}"/>
          </ac:spMkLst>
        </pc:spChg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133" creationId="{ED613F28-675B-8E23-E82D-870DCC24E98E}"/>
          </ac:spMkLst>
        </pc:spChg>
        <pc:spChg chg="mod">
          <ac:chgData name="Pierugo Pace" userId="2226acec-25d1-48aa-b467-65eac8578bef" providerId="ADAL" clId="{C473F347-30E6-4F99-BD43-7C0AE76DCA8B}" dt="2024-07-10T12:42:01.401" v="7854" actId="14100"/>
          <ac:spMkLst>
            <pc:docMk/>
            <pc:sldMk cId="548524054" sldId="3261"/>
            <ac:spMk id="148" creationId="{1651452B-C62E-CABD-3FC3-FBEF6591BB7D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149" creationId="{DBAB9D8A-ABD1-C4AF-F0A7-6FD803358840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155" creationId="{40C82B2F-DDF4-3098-C854-E7F3BE0AFAA8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157" creationId="{52EA0199-77E7-66AE-EB19-8E4E3C6838DF}"/>
          </ac:spMkLst>
        </pc:spChg>
        <pc:spChg chg="mod">
          <ac:chgData name="Pierugo Pace" userId="2226acec-25d1-48aa-b467-65eac8578bef" providerId="ADAL" clId="{C473F347-30E6-4F99-BD43-7C0AE76DCA8B}" dt="2024-07-10T12:42:05.307" v="7856" actId="14100"/>
          <ac:spMkLst>
            <pc:docMk/>
            <pc:sldMk cId="548524054" sldId="3261"/>
            <ac:spMk id="158" creationId="{6854BAB2-EBB7-4D2A-0240-83F96F7CA854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161" creationId="{23B3C8EC-2A77-13FA-86C0-43697F85E0D0}"/>
          </ac:spMkLst>
        </pc:spChg>
        <pc:spChg chg="mod">
          <ac:chgData name="Pierugo Pace" userId="2226acec-25d1-48aa-b467-65eac8578bef" providerId="ADAL" clId="{C473F347-30E6-4F99-BD43-7C0AE76DCA8B}" dt="2024-07-10T12:44:10.164" v="7873" actId="14100"/>
          <ac:spMkLst>
            <pc:docMk/>
            <pc:sldMk cId="548524054" sldId="3261"/>
            <ac:spMk id="162" creationId="{7DC6DCA9-E439-0500-2A0F-5326CE9D97FE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164" creationId="{75650F67-3F4C-71BE-F2D9-4600139F6402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165" creationId="{C1F1C0E3-1D5B-E876-0C1E-5A514662F049}"/>
          </ac:spMkLst>
        </pc:spChg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170" creationId="{85A14214-4042-EDFA-8362-FBBFC606A2CE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180" creationId="{3B4AB294-DB9E-4C7C-4A9F-4E01730509CB}"/>
          </ac:spMkLst>
        </pc:spChg>
        <pc:spChg chg="mod">
          <ac:chgData name="Pierugo Pace" userId="2226acec-25d1-48aa-b467-65eac8578bef" providerId="ADAL" clId="{C473F347-30E6-4F99-BD43-7C0AE76DCA8B}" dt="2024-07-10T12:14:42.001" v="7488" actId="20577"/>
          <ac:spMkLst>
            <pc:docMk/>
            <pc:sldMk cId="548524054" sldId="3261"/>
            <ac:spMk id="182" creationId="{09503259-9F47-0512-3AE6-B37C4221A1B4}"/>
          </ac:spMkLst>
        </pc:spChg>
        <pc:spChg chg="mod topLvl">
          <ac:chgData name="Pierugo Pace" userId="2226acec-25d1-48aa-b467-65eac8578bef" providerId="ADAL" clId="{C473F347-30E6-4F99-BD43-7C0AE76DCA8B}" dt="2024-07-10T12:50:13.054" v="7966" actId="164"/>
          <ac:spMkLst>
            <pc:docMk/>
            <pc:sldMk cId="548524054" sldId="3261"/>
            <ac:spMk id="203" creationId="{377792FC-2DC9-ED8A-B9F7-1F1FF0F3AA84}"/>
          </ac:spMkLst>
        </pc:spChg>
        <pc:spChg chg="mod">
          <ac:chgData name="Pierugo Pace" userId="2226acec-25d1-48aa-b467-65eac8578bef" providerId="ADAL" clId="{C473F347-30E6-4F99-BD43-7C0AE76DCA8B}" dt="2024-07-10T13:00:49.901" v="8103" actId="1076"/>
          <ac:spMkLst>
            <pc:docMk/>
            <pc:sldMk cId="548524054" sldId="3261"/>
            <ac:spMk id="204" creationId="{989E6ACB-B60A-C461-F689-8C988D89530B}"/>
          </ac:spMkLst>
        </pc:spChg>
        <pc:grpChg chg="add mod">
          <ac:chgData name="Pierugo Pace" userId="2226acec-25d1-48aa-b467-65eac8578bef" providerId="ADAL" clId="{C473F347-30E6-4F99-BD43-7C0AE76DCA8B}" dt="2024-07-10T12:50:13.054" v="7966" actId="164"/>
          <ac:grpSpMkLst>
            <pc:docMk/>
            <pc:sldMk cId="548524054" sldId="3261"/>
            <ac:grpSpMk id="7" creationId="{F4E0CCE7-7697-7EE5-56E4-27099F1BEA8A}"/>
          </ac:grpSpMkLst>
        </pc:grpChg>
        <pc:grpChg chg="del mod">
          <ac:chgData name="Pierugo Pace" userId="2226acec-25d1-48aa-b467-65eac8578bef" providerId="ADAL" clId="{C473F347-30E6-4F99-BD43-7C0AE76DCA8B}" dt="2024-07-10T12:49:56.671" v="7964" actId="165"/>
          <ac:grpSpMkLst>
            <pc:docMk/>
            <pc:sldMk cId="548524054" sldId="3261"/>
            <ac:grpSpMk id="35" creationId="{760F150E-85C3-7AC2-CFBE-4D0FF9E9BE88}"/>
          </ac:grpSpMkLst>
        </pc:grpChg>
        <pc:grpChg chg="mod">
          <ac:chgData name="Pierugo Pace" userId="2226acec-25d1-48aa-b467-65eac8578bef" providerId="ADAL" clId="{C473F347-30E6-4F99-BD43-7C0AE76DCA8B}" dt="2024-07-10T12:14:42.001" v="7488" actId="20577"/>
          <ac:grpSpMkLst>
            <pc:docMk/>
            <pc:sldMk cId="548524054" sldId="3261"/>
            <ac:grpSpMk id="36" creationId="{9F5AA92F-5278-176A-C216-138EC0880E2B}"/>
          </ac:grpSpMkLst>
        </pc:grpChg>
        <pc:cxnChg chg="mod">
          <ac:chgData name="Pierugo Pace" userId="2226acec-25d1-48aa-b467-65eac8578bef" providerId="ADAL" clId="{C473F347-30E6-4F99-BD43-7C0AE76DCA8B}" dt="2024-07-10T12:14:42.001" v="7488" actId="20577"/>
          <ac:cxnSpMkLst>
            <pc:docMk/>
            <pc:sldMk cId="548524054" sldId="3261"/>
            <ac:cxnSpMk id="9" creationId="{74519BA2-144B-C3E1-9BB2-DED20FA734C7}"/>
          </ac:cxnSpMkLst>
        </pc:cxnChg>
        <pc:cxnChg chg="mod">
          <ac:chgData name="Pierugo Pace" userId="2226acec-25d1-48aa-b467-65eac8578bef" providerId="ADAL" clId="{C473F347-30E6-4F99-BD43-7C0AE76DCA8B}" dt="2024-07-10T12:14:42.001" v="7488" actId="20577"/>
          <ac:cxnSpMkLst>
            <pc:docMk/>
            <pc:sldMk cId="548524054" sldId="3261"/>
            <ac:cxnSpMk id="11" creationId="{7B365049-3856-DD39-99DD-2B721A3A24EF}"/>
          </ac:cxnSpMkLst>
        </pc:cxnChg>
        <pc:cxnChg chg="mod topLvl">
          <ac:chgData name="Pierugo Pace" userId="2226acec-25d1-48aa-b467-65eac8578bef" providerId="ADAL" clId="{C473F347-30E6-4F99-BD43-7C0AE76DCA8B}" dt="2024-07-10T12:50:13.054" v="7966" actId="164"/>
          <ac:cxnSpMkLst>
            <pc:docMk/>
            <pc:sldMk cId="548524054" sldId="3261"/>
            <ac:cxnSpMk id="12" creationId="{0D8E8D01-5B70-E107-7CDE-D3E9EFB1CE7C}"/>
          </ac:cxnSpMkLst>
        </pc:cxnChg>
        <pc:cxnChg chg="mod">
          <ac:chgData name="Pierugo Pace" userId="2226acec-25d1-48aa-b467-65eac8578bef" providerId="ADAL" clId="{C473F347-30E6-4F99-BD43-7C0AE76DCA8B}" dt="2024-07-10T12:14:42.001" v="7488" actId="20577"/>
          <ac:cxnSpMkLst>
            <pc:docMk/>
            <pc:sldMk cId="548524054" sldId="3261"/>
            <ac:cxnSpMk id="14" creationId="{E56C1ED5-0968-57FC-E5E2-63364AA0E791}"/>
          </ac:cxnSpMkLst>
        </pc:cxnChg>
        <pc:cxnChg chg="mod">
          <ac:chgData name="Pierugo Pace" userId="2226acec-25d1-48aa-b467-65eac8578bef" providerId="ADAL" clId="{C473F347-30E6-4F99-BD43-7C0AE76DCA8B}" dt="2024-07-10T12:14:42.001" v="7488" actId="20577"/>
          <ac:cxnSpMkLst>
            <pc:docMk/>
            <pc:sldMk cId="548524054" sldId="3261"/>
            <ac:cxnSpMk id="16" creationId="{0A13E7A9-DDE7-C326-8FC5-F38729D0F26C}"/>
          </ac:cxnSpMkLst>
        </pc:cxnChg>
        <pc:cxnChg chg="mod topLvl">
          <ac:chgData name="Pierugo Pace" userId="2226acec-25d1-48aa-b467-65eac8578bef" providerId="ADAL" clId="{C473F347-30E6-4F99-BD43-7C0AE76DCA8B}" dt="2024-07-10T12:50:13.054" v="7966" actId="164"/>
          <ac:cxnSpMkLst>
            <pc:docMk/>
            <pc:sldMk cId="548524054" sldId="3261"/>
            <ac:cxnSpMk id="21" creationId="{81F0796B-6124-575C-A049-C66EC2F76AF9}"/>
          </ac:cxnSpMkLst>
        </pc:cxnChg>
        <pc:cxnChg chg="mod topLvl">
          <ac:chgData name="Pierugo Pace" userId="2226acec-25d1-48aa-b467-65eac8578bef" providerId="ADAL" clId="{C473F347-30E6-4F99-BD43-7C0AE76DCA8B}" dt="2024-07-10T12:50:13.054" v="7966" actId="164"/>
          <ac:cxnSpMkLst>
            <pc:docMk/>
            <pc:sldMk cId="548524054" sldId="3261"/>
            <ac:cxnSpMk id="24" creationId="{03B25158-D3DC-05B9-7C4A-5801AC2860CA}"/>
          </ac:cxnSpMkLst>
        </pc:cxnChg>
        <pc:cxnChg chg="mod topLvl">
          <ac:chgData name="Pierugo Pace" userId="2226acec-25d1-48aa-b467-65eac8578bef" providerId="ADAL" clId="{C473F347-30E6-4F99-BD43-7C0AE76DCA8B}" dt="2024-07-10T12:50:13.054" v="7966" actId="164"/>
          <ac:cxnSpMkLst>
            <pc:docMk/>
            <pc:sldMk cId="548524054" sldId="3261"/>
            <ac:cxnSpMk id="25" creationId="{7F90947C-F272-B557-794F-DA861ED12964}"/>
          </ac:cxnSpMkLst>
        </pc:cxnChg>
        <pc:cxnChg chg="mod topLvl">
          <ac:chgData name="Pierugo Pace" userId="2226acec-25d1-48aa-b467-65eac8578bef" providerId="ADAL" clId="{C473F347-30E6-4F99-BD43-7C0AE76DCA8B}" dt="2024-07-10T12:50:13.054" v="7966" actId="164"/>
          <ac:cxnSpMkLst>
            <pc:docMk/>
            <pc:sldMk cId="548524054" sldId="3261"/>
            <ac:cxnSpMk id="27" creationId="{A8BF70B4-BCB8-381A-E4D5-8DC39A6DF58D}"/>
          </ac:cxnSpMkLst>
        </pc:cxnChg>
        <pc:cxnChg chg="mod">
          <ac:chgData name="Pierugo Pace" userId="2226acec-25d1-48aa-b467-65eac8578bef" providerId="ADAL" clId="{C473F347-30E6-4F99-BD43-7C0AE76DCA8B}" dt="2024-07-10T12:14:42.001" v="7488" actId="20577"/>
          <ac:cxnSpMkLst>
            <pc:docMk/>
            <pc:sldMk cId="548524054" sldId="3261"/>
            <ac:cxnSpMk id="29" creationId="{195CCD6B-EBA2-70D7-1F0E-D9BAD7C898BC}"/>
          </ac:cxnSpMkLst>
        </pc:cxnChg>
        <pc:cxnChg chg="mod topLvl">
          <ac:chgData name="Pierugo Pace" userId="2226acec-25d1-48aa-b467-65eac8578bef" providerId="ADAL" clId="{C473F347-30E6-4F99-BD43-7C0AE76DCA8B}" dt="2024-07-10T12:50:13.054" v="7966" actId="164"/>
          <ac:cxnSpMkLst>
            <pc:docMk/>
            <pc:sldMk cId="548524054" sldId="3261"/>
            <ac:cxnSpMk id="31" creationId="{30CACF6F-3921-BF6C-51AE-DEB9FAF09B1A}"/>
          </ac:cxnSpMkLst>
        </pc:cxnChg>
        <pc:cxnChg chg="mod topLvl">
          <ac:chgData name="Pierugo Pace" userId="2226acec-25d1-48aa-b467-65eac8578bef" providerId="ADAL" clId="{C473F347-30E6-4F99-BD43-7C0AE76DCA8B}" dt="2024-07-10T12:50:13.054" v="7966" actId="164"/>
          <ac:cxnSpMkLst>
            <pc:docMk/>
            <pc:sldMk cId="548524054" sldId="3261"/>
            <ac:cxnSpMk id="40" creationId="{71A14AB1-3567-44C0-1C55-D16E66B52671}"/>
          </ac:cxnSpMkLst>
        </pc:cxnChg>
        <pc:cxnChg chg="mod">
          <ac:chgData name="Pierugo Pace" userId="2226acec-25d1-48aa-b467-65eac8578bef" providerId="ADAL" clId="{C473F347-30E6-4F99-BD43-7C0AE76DCA8B}" dt="2024-07-10T12:14:42.001" v="7488" actId="20577"/>
          <ac:cxnSpMkLst>
            <pc:docMk/>
            <pc:sldMk cId="548524054" sldId="3261"/>
            <ac:cxnSpMk id="57" creationId="{F904AD01-083C-E539-E865-F7BBB51A7863}"/>
          </ac:cxnSpMkLst>
        </pc:cxnChg>
        <pc:cxnChg chg="mod">
          <ac:chgData name="Pierugo Pace" userId="2226acec-25d1-48aa-b467-65eac8578bef" providerId="ADAL" clId="{C473F347-30E6-4F99-BD43-7C0AE76DCA8B}" dt="2024-07-10T12:14:42.001" v="7488" actId="20577"/>
          <ac:cxnSpMkLst>
            <pc:docMk/>
            <pc:sldMk cId="548524054" sldId="3261"/>
            <ac:cxnSpMk id="60" creationId="{CF695455-4282-F6E3-630F-9A178A653C98}"/>
          </ac:cxnSpMkLst>
        </pc:cxnChg>
        <pc:cxnChg chg="mod">
          <ac:chgData name="Pierugo Pace" userId="2226acec-25d1-48aa-b467-65eac8578bef" providerId="ADAL" clId="{C473F347-30E6-4F99-BD43-7C0AE76DCA8B}" dt="2024-07-10T12:14:42.001" v="7488" actId="20577"/>
          <ac:cxnSpMkLst>
            <pc:docMk/>
            <pc:sldMk cId="548524054" sldId="3261"/>
            <ac:cxnSpMk id="63" creationId="{B68A7117-B463-2089-C60F-B8608F88E021}"/>
          </ac:cxnSpMkLst>
        </pc:cxnChg>
        <pc:cxnChg chg="mod">
          <ac:chgData name="Pierugo Pace" userId="2226acec-25d1-48aa-b467-65eac8578bef" providerId="ADAL" clId="{C473F347-30E6-4F99-BD43-7C0AE76DCA8B}" dt="2024-07-10T12:14:42.001" v="7488" actId="20577"/>
          <ac:cxnSpMkLst>
            <pc:docMk/>
            <pc:sldMk cId="548524054" sldId="3261"/>
            <ac:cxnSpMk id="64" creationId="{4F04EA9A-42F3-6F11-A33C-8316FE583ED1}"/>
          </ac:cxnSpMkLst>
        </pc:cxnChg>
        <pc:cxnChg chg="mod">
          <ac:chgData name="Pierugo Pace" userId="2226acec-25d1-48aa-b467-65eac8578bef" providerId="ADAL" clId="{C473F347-30E6-4F99-BD43-7C0AE76DCA8B}" dt="2024-07-10T12:14:42.001" v="7488" actId="20577"/>
          <ac:cxnSpMkLst>
            <pc:docMk/>
            <pc:sldMk cId="548524054" sldId="3261"/>
            <ac:cxnSpMk id="66" creationId="{6B1F2F0C-E4EC-89D8-C342-223A782691EE}"/>
          </ac:cxnSpMkLst>
        </pc:cxnChg>
        <pc:cxnChg chg="mod">
          <ac:chgData name="Pierugo Pace" userId="2226acec-25d1-48aa-b467-65eac8578bef" providerId="ADAL" clId="{C473F347-30E6-4F99-BD43-7C0AE76DCA8B}" dt="2024-07-10T12:14:42.001" v="7488" actId="20577"/>
          <ac:cxnSpMkLst>
            <pc:docMk/>
            <pc:sldMk cId="548524054" sldId="3261"/>
            <ac:cxnSpMk id="69" creationId="{125CE8C4-7B7E-DE9A-0E8B-ECD4A8D33B71}"/>
          </ac:cxnSpMkLst>
        </pc:cxnChg>
        <pc:cxnChg chg="mod">
          <ac:chgData name="Pierugo Pace" userId="2226acec-25d1-48aa-b467-65eac8578bef" providerId="ADAL" clId="{C473F347-30E6-4F99-BD43-7C0AE76DCA8B}" dt="2024-07-10T12:14:42.001" v="7488" actId="20577"/>
          <ac:cxnSpMkLst>
            <pc:docMk/>
            <pc:sldMk cId="548524054" sldId="3261"/>
            <ac:cxnSpMk id="76" creationId="{6068C7B4-FB3E-5B24-F1F1-53673ACE3BEF}"/>
          </ac:cxnSpMkLst>
        </pc:cxnChg>
        <pc:cxnChg chg="mod topLvl">
          <ac:chgData name="Pierugo Pace" userId="2226acec-25d1-48aa-b467-65eac8578bef" providerId="ADAL" clId="{C473F347-30E6-4F99-BD43-7C0AE76DCA8B}" dt="2024-07-10T12:50:13.054" v="7966" actId="164"/>
          <ac:cxnSpMkLst>
            <pc:docMk/>
            <pc:sldMk cId="548524054" sldId="3261"/>
            <ac:cxnSpMk id="122" creationId="{93980ABD-0DA4-F89B-E9A7-513522EEE51A}"/>
          </ac:cxnSpMkLst>
        </pc:cxnChg>
        <pc:cxnChg chg="mod topLvl">
          <ac:chgData name="Pierugo Pace" userId="2226acec-25d1-48aa-b467-65eac8578bef" providerId="ADAL" clId="{C473F347-30E6-4F99-BD43-7C0AE76DCA8B}" dt="2024-07-10T12:50:13.054" v="7966" actId="164"/>
          <ac:cxnSpMkLst>
            <pc:docMk/>
            <pc:sldMk cId="548524054" sldId="3261"/>
            <ac:cxnSpMk id="123" creationId="{CB0D616D-F36F-B1B2-0EC3-B53C8C57E698}"/>
          </ac:cxnSpMkLst>
        </pc:cxnChg>
        <pc:cxnChg chg="mod topLvl">
          <ac:chgData name="Pierugo Pace" userId="2226acec-25d1-48aa-b467-65eac8578bef" providerId="ADAL" clId="{C473F347-30E6-4F99-BD43-7C0AE76DCA8B}" dt="2024-07-10T12:50:13.054" v="7966" actId="164"/>
          <ac:cxnSpMkLst>
            <pc:docMk/>
            <pc:sldMk cId="548524054" sldId="3261"/>
            <ac:cxnSpMk id="125" creationId="{241CDAB3-8701-96A1-AB0D-9F73A3B1B9DE}"/>
          </ac:cxnSpMkLst>
        </pc:cxnChg>
        <pc:cxnChg chg="mod topLvl">
          <ac:chgData name="Pierugo Pace" userId="2226acec-25d1-48aa-b467-65eac8578bef" providerId="ADAL" clId="{C473F347-30E6-4F99-BD43-7C0AE76DCA8B}" dt="2024-07-10T12:50:13.054" v="7966" actId="164"/>
          <ac:cxnSpMkLst>
            <pc:docMk/>
            <pc:sldMk cId="548524054" sldId="3261"/>
            <ac:cxnSpMk id="128" creationId="{B534B689-2407-6A4D-82A9-1D4C92C956AA}"/>
          </ac:cxnSpMkLst>
        </pc:cxnChg>
        <pc:cxnChg chg="mod topLvl">
          <ac:chgData name="Pierugo Pace" userId="2226acec-25d1-48aa-b467-65eac8578bef" providerId="ADAL" clId="{C473F347-30E6-4F99-BD43-7C0AE76DCA8B}" dt="2024-07-10T12:50:13.054" v="7966" actId="164"/>
          <ac:cxnSpMkLst>
            <pc:docMk/>
            <pc:sldMk cId="548524054" sldId="3261"/>
            <ac:cxnSpMk id="131" creationId="{0A0AD6A0-4363-13CC-8ACD-289B52A4904B}"/>
          </ac:cxnSpMkLst>
        </pc:cxnChg>
        <pc:cxnChg chg="mod">
          <ac:chgData name="Pierugo Pace" userId="2226acec-25d1-48aa-b467-65eac8578bef" providerId="ADAL" clId="{C473F347-30E6-4F99-BD43-7C0AE76DCA8B}" dt="2024-07-10T12:14:42.001" v="7488" actId="20577"/>
          <ac:cxnSpMkLst>
            <pc:docMk/>
            <pc:sldMk cId="548524054" sldId="3261"/>
            <ac:cxnSpMk id="152" creationId="{C4ED11DA-03E6-3942-5836-AFAC4B4B1965}"/>
          </ac:cxnSpMkLst>
        </pc:cxnChg>
        <pc:cxnChg chg="mod topLvl">
          <ac:chgData name="Pierugo Pace" userId="2226acec-25d1-48aa-b467-65eac8578bef" providerId="ADAL" clId="{C473F347-30E6-4F99-BD43-7C0AE76DCA8B}" dt="2024-07-10T12:50:13.054" v="7966" actId="164"/>
          <ac:cxnSpMkLst>
            <pc:docMk/>
            <pc:sldMk cId="548524054" sldId="3261"/>
            <ac:cxnSpMk id="153" creationId="{AE9D0CC0-FB28-1E34-A4A8-74438F8F52A3}"/>
          </ac:cxnSpMkLst>
        </pc:cxnChg>
        <pc:cxnChg chg="mod">
          <ac:chgData name="Pierugo Pace" userId="2226acec-25d1-48aa-b467-65eac8578bef" providerId="ADAL" clId="{C473F347-30E6-4F99-BD43-7C0AE76DCA8B}" dt="2024-07-10T12:14:42.001" v="7488" actId="20577"/>
          <ac:cxnSpMkLst>
            <pc:docMk/>
            <pc:sldMk cId="548524054" sldId="3261"/>
            <ac:cxnSpMk id="154" creationId="{EDF9553E-9B2D-7EFC-72AF-8B66B65FA97F}"/>
          </ac:cxnSpMkLst>
        </pc:cxnChg>
        <pc:cxnChg chg="mod">
          <ac:chgData name="Pierugo Pace" userId="2226acec-25d1-48aa-b467-65eac8578bef" providerId="ADAL" clId="{C473F347-30E6-4F99-BD43-7C0AE76DCA8B}" dt="2024-07-10T12:14:42.001" v="7488" actId="20577"/>
          <ac:cxnSpMkLst>
            <pc:docMk/>
            <pc:sldMk cId="548524054" sldId="3261"/>
            <ac:cxnSpMk id="156" creationId="{A060479A-53F4-1662-3836-3D99D6405FE2}"/>
          </ac:cxnSpMkLst>
        </pc:cxnChg>
        <pc:cxnChg chg="mod topLvl">
          <ac:chgData name="Pierugo Pace" userId="2226acec-25d1-48aa-b467-65eac8578bef" providerId="ADAL" clId="{C473F347-30E6-4F99-BD43-7C0AE76DCA8B}" dt="2024-07-10T12:50:13.054" v="7966" actId="164"/>
          <ac:cxnSpMkLst>
            <pc:docMk/>
            <pc:sldMk cId="548524054" sldId="3261"/>
            <ac:cxnSpMk id="159" creationId="{9CAC0591-23EC-8509-A2A7-8002B659EAE6}"/>
          </ac:cxnSpMkLst>
        </pc:cxnChg>
        <pc:cxnChg chg="mod">
          <ac:chgData name="Pierugo Pace" userId="2226acec-25d1-48aa-b467-65eac8578bef" providerId="ADAL" clId="{C473F347-30E6-4F99-BD43-7C0AE76DCA8B}" dt="2024-07-10T12:14:42.001" v="7488" actId="20577"/>
          <ac:cxnSpMkLst>
            <pc:docMk/>
            <pc:sldMk cId="548524054" sldId="3261"/>
            <ac:cxnSpMk id="160" creationId="{EBEF522A-0261-7F63-17E7-2C8A6695C3F3}"/>
          </ac:cxnSpMkLst>
        </pc:cxnChg>
        <pc:cxnChg chg="mod">
          <ac:chgData name="Pierugo Pace" userId="2226acec-25d1-48aa-b467-65eac8578bef" providerId="ADAL" clId="{C473F347-30E6-4F99-BD43-7C0AE76DCA8B}" dt="2024-07-10T12:14:42.001" v="7488" actId="20577"/>
          <ac:cxnSpMkLst>
            <pc:docMk/>
            <pc:sldMk cId="548524054" sldId="3261"/>
            <ac:cxnSpMk id="163" creationId="{28CD4BEC-3A93-7170-EC10-10BB15B2E487}"/>
          </ac:cxnSpMkLst>
        </pc:cxnChg>
        <pc:cxnChg chg="mod">
          <ac:chgData name="Pierugo Pace" userId="2226acec-25d1-48aa-b467-65eac8578bef" providerId="ADAL" clId="{C473F347-30E6-4F99-BD43-7C0AE76DCA8B}" dt="2024-07-10T12:14:42.001" v="7488" actId="20577"/>
          <ac:cxnSpMkLst>
            <pc:docMk/>
            <pc:sldMk cId="548524054" sldId="3261"/>
            <ac:cxnSpMk id="187" creationId="{0558EDE1-C498-14C0-1BCF-ED0DCFBA1B5C}"/>
          </ac:cxnSpMkLst>
        </pc:cxnChg>
        <pc:cxnChg chg="mod">
          <ac:chgData name="Pierugo Pace" userId="2226acec-25d1-48aa-b467-65eac8578bef" providerId="ADAL" clId="{C473F347-30E6-4F99-BD43-7C0AE76DCA8B}" dt="2024-07-10T12:14:42.001" v="7488" actId="20577"/>
          <ac:cxnSpMkLst>
            <pc:docMk/>
            <pc:sldMk cId="548524054" sldId="3261"/>
            <ac:cxnSpMk id="190" creationId="{F3E96430-B583-B5F3-A7DF-3075F036BD39}"/>
          </ac:cxnSpMkLst>
        </pc:cxnChg>
        <pc:cxnChg chg="mod">
          <ac:chgData name="Pierugo Pace" userId="2226acec-25d1-48aa-b467-65eac8578bef" providerId="ADAL" clId="{C473F347-30E6-4F99-BD43-7C0AE76DCA8B}" dt="2024-07-10T12:14:42.001" v="7488" actId="20577"/>
          <ac:cxnSpMkLst>
            <pc:docMk/>
            <pc:sldMk cId="548524054" sldId="3261"/>
            <ac:cxnSpMk id="192" creationId="{622E107A-5AE3-E6CF-038F-22030ABB902D}"/>
          </ac:cxnSpMkLst>
        </pc:cxnChg>
      </pc:sldChg>
      <pc:sldChg chg="addSp delSp modSp add del mod">
        <pc:chgData name="Pierugo Pace" userId="2226acec-25d1-48aa-b467-65eac8578bef" providerId="ADAL" clId="{C473F347-30E6-4F99-BD43-7C0AE76DCA8B}" dt="2024-07-10T12:10:12.138" v="7393"/>
        <pc:sldMkLst>
          <pc:docMk/>
          <pc:sldMk cId="1439991220" sldId="3261"/>
        </pc:sldMkLst>
        <pc:spChg chg="mod">
          <ac:chgData name="Pierugo Pace" userId="2226acec-25d1-48aa-b467-65eac8578bef" providerId="ADAL" clId="{C473F347-30E6-4F99-BD43-7C0AE76DCA8B}" dt="2024-07-10T12:10:11.491" v="7391" actId="20577"/>
          <ac:spMkLst>
            <pc:docMk/>
            <pc:sldMk cId="1439991220" sldId="3261"/>
            <ac:spMk id="10" creationId="{B80566C9-12DB-EAD8-3BDE-8501A28EF58B}"/>
          </ac:spMkLst>
        </pc:spChg>
        <pc:spChg chg="add del">
          <ac:chgData name="Pierugo Pace" userId="2226acec-25d1-48aa-b467-65eac8578bef" providerId="ADAL" clId="{C473F347-30E6-4F99-BD43-7C0AE76DCA8B}" dt="2024-07-10T12:10:11.782" v="7392" actId="478"/>
          <ac:spMkLst>
            <pc:docMk/>
            <pc:sldMk cId="1439991220" sldId="3261"/>
            <ac:spMk id="95" creationId="{9427C599-1472-05C3-522F-B117DFE4AE68}"/>
          </ac:spMkLst>
        </pc:spChg>
      </pc:sldChg>
      <pc:sldChg chg="modSp add mod">
        <pc:chgData name="Pierugo Pace" userId="2226acec-25d1-48aa-b467-65eac8578bef" providerId="ADAL" clId="{C473F347-30E6-4F99-BD43-7C0AE76DCA8B}" dt="2024-07-26T06:55:41.758" v="10680" actId="6549"/>
        <pc:sldMkLst>
          <pc:docMk/>
          <pc:sldMk cId="1981172646" sldId="3262"/>
        </pc:sldMkLst>
        <pc:spChg chg="mod">
          <ac:chgData name="Pierugo Pace" userId="2226acec-25d1-48aa-b467-65eac8578bef" providerId="ADAL" clId="{C473F347-30E6-4F99-BD43-7C0AE76DCA8B}" dt="2024-07-26T06:55:39.945" v="10678" actId="6549"/>
          <ac:spMkLst>
            <pc:docMk/>
            <pc:sldMk cId="1981172646" sldId="3262"/>
            <ac:spMk id="4" creationId="{370D67FC-6B77-1C3E-0577-FFEFDC667B67}"/>
          </ac:spMkLst>
        </pc:spChg>
        <pc:spChg chg="mod">
          <ac:chgData name="Pierugo Pace" userId="2226acec-25d1-48aa-b467-65eac8578bef" providerId="ADAL" clId="{C473F347-30E6-4F99-BD43-7C0AE76DCA8B}" dt="2024-07-10T12:40:49.910" v="7829" actId="20577"/>
          <ac:spMkLst>
            <pc:docMk/>
            <pc:sldMk cId="1981172646" sldId="3262"/>
            <ac:spMk id="5" creationId="{915B382A-6A03-F33C-A0F6-74D72A29E9BF}"/>
          </ac:spMkLst>
        </pc:spChg>
        <pc:spChg chg="mod">
          <ac:chgData name="Pierugo Pace" userId="2226acec-25d1-48aa-b467-65eac8578bef" providerId="ADAL" clId="{C473F347-30E6-4F99-BD43-7C0AE76DCA8B}" dt="2024-07-24T14:03:11.382" v="10024" actId="790"/>
          <ac:spMkLst>
            <pc:docMk/>
            <pc:sldMk cId="1981172646" sldId="3262"/>
            <ac:spMk id="8" creationId="{98F119C4-EFAA-9512-A471-1273E2278617}"/>
          </ac:spMkLst>
        </pc:spChg>
        <pc:spChg chg="mod">
          <ac:chgData name="Pierugo Pace" userId="2226acec-25d1-48aa-b467-65eac8578bef" providerId="ADAL" clId="{C473F347-30E6-4F99-BD43-7C0AE76DCA8B}" dt="2024-07-24T13:47:06.245" v="9196" actId="1076"/>
          <ac:spMkLst>
            <pc:docMk/>
            <pc:sldMk cId="1981172646" sldId="3262"/>
            <ac:spMk id="10" creationId="{B80566C9-12DB-EAD8-3BDE-8501A28EF58B}"/>
          </ac:spMkLst>
        </pc:spChg>
        <pc:spChg chg="mod">
          <ac:chgData name="Pierugo Pace" userId="2226acec-25d1-48aa-b467-65eac8578bef" providerId="ADAL" clId="{C473F347-30E6-4F99-BD43-7C0AE76DCA8B}" dt="2024-07-10T12:40:45.742" v="7821" actId="20577"/>
          <ac:spMkLst>
            <pc:docMk/>
            <pc:sldMk cId="1981172646" sldId="3262"/>
            <ac:spMk id="19" creationId="{519FBEE0-C313-CE5D-C336-D74D55FA46E2}"/>
          </ac:spMkLst>
        </pc:spChg>
        <pc:spChg chg="mod">
          <ac:chgData name="Pierugo Pace" userId="2226acec-25d1-48aa-b467-65eac8578bef" providerId="ADAL" clId="{C473F347-30E6-4F99-BD43-7C0AE76DCA8B}" dt="2024-07-10T12:40:45.568" v="7820" actId="20577"/>
          <ac:spMkLst>
            <pc:docMk/>
            <pc:sldMk cId="1981172646" sldId="3262"/>
            <ac:spMk id="30" creationId="{31D609C8-2F3E-14CE-A965-F02EAAA5529A}"/>
          </ac:spMkLst>
        </pc:spChg>
        <pc:spChg chg="mod">
          <ac:chgData name="Pierugo Pace" userId="2226acec-25d1-48aa-b467-65eac8578bef" providerId="ADAL" clId="{C473F347-30E6-4F99-BD43-7C0AE76DCA8B}" dt="2024-07-10T12:40:45.378" v="7819" actId="20577"/>
          <ac:spMkLst>
            <pc:docMk/>
            <pc:sldMk cId="1981172646" sldId="3262"/>
            <ac:spMk id="39" creationId="{FBAEE39A-F0DF-04C3-4758-C159E1DE830F}"/>
          </ac:spMkLst>
        </pc:spChg>
        <pc:spChg chg="mod">
          <ac:chgData name="Pierugo Pace" userId="2226acec-25d1-48aa-b467-65eac8578bef" providerId="ADAL" clId="{C473F347-30E6-4F99-BD43-7C0AE76DCA8B}" dt="2024-07-26T06:55:41.758" v="10680" actId="6549"/>
          <ac:spMkLst>
            <pc:docMk/>
            <pc:sldMk cId="1981172646" sldId="3262"/>
            <ac:spMk id="72" creationId="{E6E8A597-AF03-4425-F3FD-C0E495332932}"/>
          </ac:spMkLst>
        </pc:spChg>
        <pc:spChg chg="mod">
          <ac:chgData name="Pierugo Pace" userId="2226acec-25d1-48aa-b467-65eac8578bef" providerId="ADAL" clId="{C473F347-30E6-4F99-BD43-7C0AE76DCA8B}" dt="2024-07-24T13:47:23.974" v="9217" actId="20577"/>
          <ac:spMkLst>
            <pc:docMk/>
            <pc:sldMk cId="1981172646" sldId="3262"/>
            <ac:spMk id="73" creationId="{B8970E0F-97BB-B338-927F-B4EE7109E61C}"/>
          </ac:spMkLst>
        </pc:spChg>
        <pc:spChg chg="mod">
          <ac:chgData name="Pierugo Pace" userId="2226acec-25d1-48aa-b467-65eac8578bef" providerId="ADAL" clId="{C473F347-30E6-4F99-BD43-7C0AE76DCA8B}" dt="2024-07-24T13:47:27.051" v="9218" actId="1076"/>
          <ac:spMkLst>
            <pc:docMk/>
            <pc:sldMk cId="1981172646" sldId="3262"/>
            <ac:spMk id="74" creationId="{CDA9B1A0-F203-E283-7398-BE67C8A647A7}"/>
          </ac:spMkLst>
        </pc:spChg>
        <pc:spChg chg="mod">
          <ac:chgData name="Pierugo Pace" userId="2226acec-25d1-48aa-b467-65eac8578bef" providerId="ADAL" clId="{C473F347-30E6-4F99-BD43-7C0AE76DCA8B}" dt="2024-07-24T13:47:23.974" v="9217" actId="20577"/>
          <ac:spMkLst>
            <pc:docMk/>
            <pc:sldMk cId="1981172646" sldId="3262"/>
            <ac:spMk id="77" creationId="{99A43406-4CA8-4C06-5E47-9F53C6DA87F3}"/>
          </ac:spMkLst>
        </pc:spChg>
        <pc:spChg chg="mod">
          <ac:chgData name="Pierugo Pace" userId="2226acec-25d1-48aa-b467-65eac8578bef" providerId="ADAL" clId="{C473F347-30E6-4F99-BD43-7C0AE76DCA8B}" dt="2024-07-24T13:47:23.974" v="9217" actId="20577"/>
          <ac:spMkLst>
            <pc:docMk/>
            <pc:sldMk cId="1981172646" sldId="3262"/>
            <ac:spMk id="80" creationId="{C3ACEFD2-3619-DE38-1B12-DCAB1799C88C}"/>
          </ac:spMkLst>
        </pc:spChg>
        <pc:spChg chg="mod">
          <ac:chgData name="Pierugo Pace" userId="2226acec-25d1-48aa-b467-65eac8578bef" providerId="ADAL" clId="{C473F347-30E6-4F99-BD43-7C0AE76DCA8B}" dt="2024-07-24T13:47:23.974" v="9217" actId="20577"/>
          <ac:spMkLst>
            <pc:docMk/>
            <pc:sldMk cId="1981172646" sldId="3262"/>
            <ac:spMk id="83" creationId="{A267C104-6D35-AA28-18B6-BEC259B80ADB}"/>
          </ac:spMkLst>
        </pc:spChg>
        <pc:spChg chg="mod">
          <ac:chgData name="Pierugo Pace" userId="2226acec-25d1-48aa-b467-65eac8578bef" providerId="ADAL" clId="{C473F347-30E6-4F99-BD43-7C0AE76DCA8B}" dt="2024-07-24T13:47:23.974" v="9217" actId="20577"/>
          <ac:spMkLst>
            <pc:docMk/>
            <pc:sldMk cId="1981172646" sldId="3262"/>
            <ac:spMk id="85" creationId="{D2D5B6C0-9D03-7807-9725-6D91A3F5664E}"/>
          </ac:spMkLst>
        </pc:spChg>
        <pc:spChg chg="mod">
          <ac:chgData name="Pierugo Pace" userId="2226acec-25d1-48aa-b467-65eac8578bef" providerId="ADAL" clId="{C473F347-30E6-4F99-BD43-7C0AE76DCA8B}" dt="2024-07-24T13:47:23.974" v="9217" actId="20577"/>
          <ac:spMkLst>
            <pc:docMk/>
            <pc:sldMk cId="1981172646" sldId="3262"/>
            <ac:spMk id="86" creationId="{C850247E-5DF3-5FF1-14A0-AD938BD5B432}"/>
          </ac:spMkLst>
        </pc:spChg>
        <pc:spChg chg="mod">
          <ac:chgData name="Pierugo Pace" userId="2226acec-25d1-48aa-b467-65eac8578bef" providerId="ADAL" clId="{C473F347-30E6-4F99-BD43-7C0AE76DCA8B}" dt="2024-07-24T13:47:23.974" v="9217" actId="20577"/>
          <ac:spMkLst>
            <pc:docMk/>
            <pc:sldMk cId="1981172646" sldId="3262"/>
            <ac:spMk id="88" creationId="{0E36B9BF-4D0C-8308-2278-EF2F7416D067}"/>
          </ac:spMkLst>
        </pc:spChg>
        <pc:spChg chg="mod">
          <ac:chgData name="Pierugo Pace" userId="2226acec-25d1-48aa-b467-65eac8578bef" providerId="ADAL" clId="{C473F347-30E6-4F99-BD43-7C0AE76DCA8B}" dt="2024-07-24T13:47:23.974" v="9217" actId="20577"/>
          <ac:spMkLst>
            <pc:docMk/>
            <pc:sldMk cId="1981172646" sldId="3262"/>
            <ac:spMk id="90" creationId="{615144D5-858C-BD04-B97B-5778D2D4CB4A}"/>
          </ac:spMkLst>
        </pc:spChg>
        <pc:spChg chg="mod">
          <ac:chgData name="Pierugo Pace" userId="2226acec-25d1-48aa-b467-65eac8578bef" providerId="ADAL" clId="{C473F347-30E6-4F99-BD43-7C0AE76DCA8B}" dt="2024-07-24T13:47:23.974" v="9217" actId="20577"/>
          <ac:spMkLst>
            <pc:docMk/>
            <pc:sldMk cId="1981172646" sldId="3262"/>
            <ac:spMk id="92" creationId="{8DFF9BF1-7F97-3B42-D123-7577521A221B}"/>
          </ac:spMkLst>
        </pc:spChg>
        <pc:spChg chg="mod">
          <ac:chgData name="Pierugo Pace" userId="2226acec-25d1-48aa-b467-65eac8578bef" providerId="ADAL" clId="{C473F347-30E6-4F99-BD43-7C0AE76DCA8B}" dt="2024-07-24T13:47:23.974" v="9217" actId="20577"/>
          <ac:spMkLst>
            <pc:docMk/>
            <pc:sldMk cId="1981172646" sldId="3262"/>
            <ac:spMk id="93" creationId="{708AEF89-D19A-A6CA-6A20-19138BD80B35}"/>
          </ac:spMkLst>
        </pc:spChg>
        <pc:spChg chg="mod">
          <ac:chgData name="Pierugo Pace" userId="2226acec-25d1-48aa-b467-65eac8578bef" providerId="ADAL" clId="{C473F347-30E6-4F99-BD43-7C0AE76DCA8B}" dt="2024-07-24T14:08:26.693" v="10115" actId="1076"/>
          <ac:spMkLst>
            <pc:docMk/>
            <pc:sldMk cId="1981172646" sldId="3262"/>
            <ac:spMk id="95" creationId="{9427C599-1472-05C3-522F-B117DFE4AE68}"/>
          </ac:spMkLst>
        </pc:spChg>
        <pc:spChg chg="mod">
          <ac:chgData name="Pierugo Pace" userId="2226acec-25d1-48aa-b467-65eac8578bef" providerId="ADAL" clId="{C473F347-30E6-4F99-BD43-7C0AE76DCA8B}" dt="2024-07-24T14:09:00.265" v="10143" actId="1076"/>
          <ac:spMkLst>
            <pc:docMk/>
            <pc:sldMk cId="1981172646" sldId="3262"/>
            <ac:spMk id="97" creationId="{4C5CFA87-B361-062E-5944-99E819251C1B}"/>
          </ac:spMkLst>
        </pc:spChg>
        <pc:spChg chg="mod">
          <ac:chgData name="Pierugo Pace" userId="2226acec-25d1-48aa-b467-65eac8578bef" providerId="ADAL" clId="{C473F347-30E6-4F99-BD43-7C0AE76DCA8B}" dt="2024-07-24T13:47:23.974" v="9217" actId="20577"/>
          <ac:spMkLst>
            <pc:docMk/>
            <pc:sldMk cId="1981172646" sldId="3262"/>
            <ac:spMk id="101" creationId="{96910443-799E-CDE1-6153-55107CE12759}"/>
          </ac:spMkLst>
        </pc:spChg>
        <pc:spChg chg="mod">
          <ac:chgData name="Pierugo Pace" userId="2226acec-25d1-48aa-b467-65eac8578bef" providerId="ADAL" clId="{C473F347-30E6-4F99-BD43-7C0AE76DCA8B}" dt="2024-07-24T13:47:23.974" v="9217" actId="20577"/>
          <ac:spMkLst>
            <pc:docMk/>
            <pc:sldMk cId="1981172646" sldId="3262"/>
            <ac:spMk id="102" creationId="{14885AB7-0BCB-C007-D0CF-473770AC3239}"/>
          </ac:spMkLst>
        </pc:spChg>
        <pc:spChg chg="mod">
          <ac:chgData name="Pierugo Pace" userId="2226acec-25d1-48aa-b467-65eac8578bef" providerId="ADAL" clId="{C473F347-30E6-4F99-BD43-7C0AE76DCA8B}" dt="2024-07-24T13:47:23.974" v="9217" actId="20577"/>
          <ac:spMkLst>
            <pc:docMk/>
            <pc:sldMk cId="1981172646" sldId="3262"/>
            <ac:spMk id="103" creationId="{14699CAB-2ECF-6172-2025-FCD259172B6E}"/>
          </ac:spMkLst>
        </pc:spChg>
        <pc:grpChg chg="mod">
          <ac:chgData name="Pierugo Pace" userId="2226acec-25d1-48aa-b467-65eac8578bef" providerId="ADAL" clId="{C473F347-30E6-4F99-BD43-7C0AE76DCA8B}" dt="2024-07-24T13:47:23.974" v="9217" actId="20577"/>
          <ac:grpSpMkLst>
            <pc:docMk/>
            <pc:sldMk cId="1981172646" sldId="3262"/>
            <ac:grpSpMk id="105" creationId="{E32024C2-22CC-AFC6-58C0-56BF51DC608D}"/>
          </ac:grpSpMkLst>
        </pc:grpChg>
        <pc:cxnChg chg="mod">
          <ac:chgData name="Pierugo Pace" userId="2226acec-25d1-48aa-b467-65eac8578bef" providerId="ADAL" clId="{C473F347-30E6-4F99-BD43-7C0AE76DCA8B}" dt="2024-07-24T13:47:23.974" v="9217" actId="20577"/>
          <ac:cxnSpMkLst>
            <pc:docMk/>
            <pc:sldMk cId="1981172646" sldId="3262"/>
            <ac:cxnSpMk id="75" creationId="{8AD23612-B124-29CF-1907-CBCD7AEE71FC}"/>
          </ac:cxnSpMkLst>
        </pc:cxnChg>
        <pc:cxnChg chg="mod">
          <ac:chgData name="Pierugo Pace" userId="2226acec-25d1-48aa-b467-65eac8578bef" providerId="ADAL" clId="{C473F347-30E6-4F99-BD43-7C0AE76DCA8B}" dt="2024-07-24T13:47:23.974" v="9217" actId="20577"/>
          <ac:cxnSpMkLst>
            <pc:docMk/>
            <pc:sldMk cId="1981172646" sldId="3262"/>
            <ac:cxnSpMk id="78" creationId="{284C9F2D-F5F2-AEB8-EC42-B360C9C92C18}"/>
          </ac:cxnSpMkLst>
        </pc:cxnChg>
        <pc:cxnChg chg="mod">
          <ac:chgData name="Pierugo Pace" userId="2226acec-25d1-48aa-b467-65eac8578bef" providerId="ADAL" clId="{C473F347-30E6-4F99-BD43-7C0AE76DCA8B}" dt="2024-07-24T13:47:23.974" v="9217" actId="20577"/>
          <ac:cxnSpMkLst>
            <pc:docMk/>
            <pc:sldMk cId="1981172646" sldId="3262"/>
            <ac:cxnSpMk id="81" creationId="{6F203290-6889-B592-C174-2C2024B96EB8}"/>
          </ac:cxnSpMkLst>
        </pc:cxnChg>
        <pc:cxnChg chg="mod">
          <ac:chgData name="Pierugo Pace" userId="2226acec-25d1-48aa-b467-65eac8578bef" providerId="ADAL" clId="{C473F347-30E6-4F99-BD43-7C0AE76DCA8B}" dt="2024-07-24T13:47:23.974" v="9217" actId="20577"/>
          <ac:cxnSpMkLst>
            <pc:docMk/>
            <pc:sldMk cId="1981172646" sldId="3262"/>
            <ac:cxnSpMk id="82" creationId="{3D9BB5E4-95FA-CE60-F4CC-C5CE2270BC85}"/>
          </ac:cxnSpMkLst>
        </pc:cxnChg>
        <pc:cxnChg chg="mod">
          <ac:chgData name="Pierugo Pace" userId="2226acec-25d1-48aa-b467-65eac8578bef" providerId="ADAL" clId="{C473F347-30E6-4F99-BD43-7C0AE76DCA8B}" dt="2024-07-24T13:47:23.974" v="9217" actId="20577"/>
          <ac:cxnSpMkLst>
            <pc:docMk/>
            <pc:sldMk cId="1981172646" sldId="3262"/>
            <ac:cxnSpMk id="84" creationId="{F2A0F983-4225-2642-FA5F-7B0462008E3B}"/>
          </ac:cxnSpMkLst>
        </pc:cxnChg>
        <pc:cxnChg chg="mod">
          <ac:chgData name="Pierugo Pace" userId="2226acec-25d1-48aa-b467-65eac8578bef" providerId="ADAL" clId="{C473F347-30E6-4F99-BD43-7C0AE76DCA8B}" dt="2024-07-24T13:47:23.974" v="9217" actId="20577"/>
          <ac:cxnSpMkLst>
            <pc:docMk/>
            <pc:sldMk cId="1981172646" sldId="3262"/>
            <ac:cxnSpMk id="87" creationId="{7EC775DA-2069-CB79-ED2E-BDB99FB8E2BD}"/>
          </ac:cxnSpMkLst>
        </pc:cxnChg>
        <pc:cxnChg chg="mod">
          <ac:chgData name="Pierugo Pace" userId="2226acec-25d1-48aa-b467-65eac8578bef" providerId="ADAL" clId="{C473F347-30E6-4F99-BD43-7C0AE76DCA8B}" dt="2024-07-24T13:47:23.974" v="9217" actId="20577"/>
          <ac:cxnSpMkLst>
            <pc:docMk/>
            <pc:sldMk cId="1981172646" sldId="3262"/>
            <ac:cxnSpMk id="91" creationId="{D5EEF37C-D7B4-07DA-64FD-14E6AD4696C3}"/>
          </ac:cxnSpMkLst>
        </pc:cxnChg>
      </pc:sldChg>
      <pc:sldChg chg="add">
        <pc:chgData name="Pierugo Pace" userId="2226acec-25d1-48aa-b467-65eac8578bef" providerId="ADAL" clId="{C473F347-30E6-4F99-BD43-7C0AE76DCA8B}" dt="2024-07-24T12:19:36.787" v="8666"/>
        <pc:sldMkLst>
          <pc:docMk/>
          <pc:sldMk cId="606975761" sldId="3263"/>
        </pc:sldMkLst>
      </pc:sldChg>
      <pc:sldChg chg="addSp delSp modSp add mod modAnim">
        <pc:chgData name="Pierugo Pace" userId="2226acec-25d1-48aa-b467-65eac8578bef" providerId="ADAL" clId="{C473F347-30E6-4F99-BD43-7C0AE76DCA8B}" dt="2024-07-25T15:07:02.359" v="10676" actId="207"/>
        <pc:sldMkLst>
          <pc:docMk/>
          <pc:sldMk cId="1591333919" sldId="3264"/>
        </pc:sldMkLst>
        <pc:spChg chg="add del mod">
          <ac:chgData name="Pierugo Pace" userId="2226acec-25d1-48aa-b467-65eac8578bef" providerId="ADAL" clId="{C473F347-30E6-4F99-BD43-7C0AE76DCA8B}" dt="2024-07-24T12:22:02.974" v="8758" actId="14100"/>
          <ac:spMkLst>
            <pc:docMk/>
            <pc:sldMk cId="1591333919" sldId="3264"/>
            <ac:spMk id="2" creationId="{D9984E5A-48FF-7439-9C2B-69DC44F01197}"/>
          </ac:spMkLst>
        </pc:spChg>
        <pc:spChg chg="add del mod">
          <ac:chgData name="Pierugo Pace" userId="2226acec-25d1-48aa-b467-65eac8578bef" providerId="ADAL" clId="{C473F347-30E6-4F99-BD43-7C0AE76DCA8B}" dt="2024-07-24T12:22:01.711" v="8756" actId="478"/>
          <ac:spMkLst>
            <pc:docMk/>
            <pc:sldMk cId="1591333919" sldId="3264"/>
            <ac:spMk id="3" creationId="{374540C4-778D-9A24-1C6D-8035A1059A15}"/>
          </ac:spMkLst>
        </pc:spChg>
        <pc:spChg chg="mod">
          <ac:chgData name="Pierugo Pace" userId="2226acec-25d1-48aa-b467-65eac8578bef" providerId="ADAL" clId="{C473F347-30E6-4F99-BD43-7C0AE76DCA8B}" dt="2024-07-24T12:23:36.801" v="8846" actId="790"/>
          <ac:spMkLst>
            <pc:docMk/>
            <pc:sldMk cId="1591333919" sldId="3264"/>
            <ac:spMk id="6" creationId="{9B6A052D-8A50-38B9-A1D6-ECEFE490EAF5}"/>
          </ac:spMkLst>
        </pc:spChg>
        <pc:spChg chg="add del mod">
          <ac:chgData name="Pierugo Pace" userId="2226acec-25d1-48aa-b467-65eac8578bef" providerId="ADAL" clId="{C473F347-30E6-4F99-BD43-7C0AE76DCA8B}" dt="2024-07-24T12:22:08.028" v="8763" actId="478"/>
          <ac:spMkLst>
            <pc:docMk/>
            <pc:sldMk cId="1591333919" sldId="3264"/>
            <ac:spMk id="7" creationId="{16E2FE2A-FABA-B694-3864-684CCC52739A}"/>
          </ac:spMkLst>
        </pc:spChg>
        <pc:spChg chg="mod">
          <ac:chgData name="Pierugo Pace" userId="2226acec-25d1-48aa-b467-65eac8578bef" providerId="ADAL" clId="{C473F347-30E6-4F99-BD43-7C0AE76DCA8B}" dt="2024-07-25T15:07:02.359" v="10676" actId="207"/>
          <ac:spMkLst>
            <pc:docMk/>
            <pc:sldMk cId="1591333919" sldId="3264"/>
            <ac:spMk id="8" creationId="{EA256C8C-6C7B-75BA-A2E9-78123262BDCA}"/>
          </ac:spMkLst>
        </pc:spChg>
        <pc:picChg chg="add mod">
          <ac:chgData name="Pierugo Pace" userId="2226acec-25d1-48aa-b467-65eac8578bef" providerId="ADAL" clId="{C473F347-30E6-4F99-BD43-7C0AE76DCA8B}" dt="2024-07-24T12:22:01.494" v="8755"/>
          <ac:picMkLst>
            <pc:docMk/>
            <pc:sldMk cId="1591333919" sldId="3264"/>
            <ac:picMk id="5" creationId="{B9868196-3D2A-5D3A-7476-F8C63EF6CBF8}"/>
          </ac:picMkLst>
        </pc:picChg>
        <pc:picChg chg="add mod">
          <ac:chgData name="Pierugo Pace" userId="2226acec-25d1-48aa-b467-65eac8578bef" providerId="ADAL" clId="{C473F347-30E6-4F99-BD43-7C0AE76DCA8B}" dt="2024-07-24T12:22:28.137" v="8764" actId="1076"/>
          <ac:picMkLst>
            <pc:docMk/>
            <pc:sldMk cId="1591333919" sldId="3264"/>
            <ac:picMk id="10" creationId="{DE5D12C5-8275-2283-A4BB-90A4E4CC4AA4}"/>
          </ac:picMkLst>
        </pc:picChg>
      </pc:sldChg>
      <pc:sldChg chg="new del">
        <pc:chgData name="Pierugo Pace" userId="2226acec-25d1-48aa-b467-65eac8578bef" providerId="ADAL" clId="{C473F347-30E6-4F99-BD43-7C0AE76DCA8B}" dt="2024-07-24T12:20:53.026" v="8694" actId="47"/>
        <pc:sldMkLst>
          <pc:docMk/>
          <pc:sldMk cId="263581654" sldId="3265"/>
        </pc:sldMkLst>
      </pc:sldChg>
      <pc:sldChg chg="addSp delSp modSp add del mod modAnim">
        <pc:chgData name="Pierugo Pace" userId="2226acec-25d1-48aa-b467-65eac8578bef" providerId="ADAL" clId="{C473F347-30E6-4F99-BD43-7C0AE76DCA8B}" dt="2024-07-24T13:50:43.218" v="9297" actId="47"/>
        <pc:sldMkLst>
          <pc:docMk/>
          <pc:sldMk cId="705887941" sldId="3265"/>
        </pc:sldMkLst>
        <pc:spChg chg="add del mod">
          <ac:chgData name="Pierugo Pace" userId="2226acec-25d1-48aa-b467-65eac8578bef" providerId="ADAL" clId="{C473F347-30E6-4F99-BD43-7C0AE76DCA8B}" dt="2024-07-24T13:49:55.702" v="9280" actId="478"/>
          <ac:spMkLst>
            <pc:docMk/>
            <pc:sldMk cId="705887941" sldId="3265"/>
            <ac:spMk id="3" creationId="{2D2565CA-4F71-E020-AC09-3507DF1E9C0A}"/>
          </ac:spMkLst>
        </pc:spChg>
        <pc:spChg chg="add mod">
          <ac:chgData name="Pierugo Pace" userId="2226acec-25d1-48aa-b467-65eac8578bef" providerId="ADAL" clId="{C473F347-30E6-4F99-BD43-7C0AE76DCA8B}" dt="2024-07-24T13:50:10.138" v="9286"/>
          <ac:spMkLst>
            <pc:docMk/>
            <pc:sldMk cId="705887941" sldId="3265"/>
            <ac:spMk id="4" creationId="{E294296F-7DC8-D952-5B3D-08A25F72C1CA}"/>
          </ac:spMkLst>
        </pc:spChg>
        <pc:spChg chg="mod">
          <ac:chgData name="Pierugo Pace" userId="2226acec-25d1-48aa-b467-65eac8578bef" providerId="ADAL" clId="{C473F347-30E6-4F99-BD43-7C0AE76DCA8B}" dt="2024-07-24T13:49:49.196" v="9277" actId="20577"/>
          <ac:spMkLst>
            <pc:docMk/>
            <pc:sldMk cId="705887941" sldId="3265"/>
            <ac:spMk id="5" creationId="{00000000-0000-0000-0000-000000000000}"/>
          </ac:spMkLst>
        </pc:spChg>
        <pc:spChg chg="del">
          <ac:chgData name="Pierugo Pace" userId="2226acec-25d1-48aa-b467-65eac8578bef" providerId="ADAL" clId="{C473F347-30E6-4F99-BD43-7C0AE76DCA8B}" dt="2024-07-24T13:49:53.811" v="9279" actId="478"/>
          <ac:spMkLst>
            <pc:docMk/>
            <pc:sldMk cId="705887941" sldId="3265"/>
            <ac:spMk id="7" creationId="{00000000-0000-0000-0000-000000000000}"/>
          </ac:spMkLst>
        </pc:spChg>
        <pc:spChg chg="add mod">
          <ac:chgData name="Pierugo Pace" userId="2226acec-25d1-48aa-b467-65eac8578bef" providerId="ADAL" clId="{C473F347-30E6-4F99-BD43-7C0AE76DCA8B}" dt="2024-07-24T13:50:21.563" v="9291" actId="20577"/>
          <ac:spMkLst>
            <pc:docMk/>
            <pc:sldMk cId="705887941" sldId="3265"/>
            <ac:spMk id="8" creationId="{B89E677A-8933-EEF6-F8B2-DBE1964A004A}"/>
          </ac:spMkLst>
        </pc:spChg>
        <pc:picChg chg="add">
          <ac:chgData name="Pierugo Pace" userId="2226acec-25d1-48aa-b467-65eac8578bef" providerId="ADAL" clId="{C473F347-30E6-4F99-BD43-7C0AE76DCA8B}" dt="2024-07-24T13:50:10.218" v="9287"/>
          <ac:picMkLst>
            <pc:docMk/>
            <pc:sldMk cId="705887941" sldId="3265"/>
            <ac:picMk id="6" creationId="{BF3FEDFB-25A4-091D-8A33-E6D8104F42D6}"/>
          </ac:picMkLst>
        </pc:picChg>
        <pc:picChg chg="del">
          <ac:chgData name="Pierugo Pace" userId="2226acec-25d1-48aa-b467-65eac8578bef" providerId="ADAL" clId="{C473F347-30E6-4F99-BD43-7C0AE76DCA8B}" dt="2024-07-24T13:49:52.419" v="9278" actId="478"/>
          <ac:picMkLst>
            <pc:docMk/>
            <pc:sldMk cId="705887941" sldId="3265"/>
            <ac:picMk id="23" creationId="{00000000-0000-0000-0000-000000000000}"/>
          </ac:picMkLst>
        </pc:picChg>
      </pc:sldChg>
      <pc:sldChg chg="add del ord">
        <pc:chgData name="Pierugo Pace" userId="2226acec-25d1-48aa-b467-65eac8578bef" providerId="ADAL" clId="{C473F347-30E6-4F99-BD43-7C0AE76DCA8B}" dt="2024-07-24T13:50:04.642" v="9284" actId="47"/>
        <pc:sldMkLst>
          <pc:docMk/>
          <pc:sldMk cId="3435075" sldId="3266"/>
        </pc:sldMkLst>
      </pc:sldChg>
      <pc:sldChg chg="addSp delSp modSp new del mod modClrScheme chgLayout">
        <pc:chgData name="Pierugo Pace" userId="2226acec-25d1-48aa-b467-65eac8578bef" providerId="ADAL" clId="{C473F347-30E6-4F99-BD43-7C0AE76DCA8B}" dt="2024-07-25T12:15:54.658" v="10425" actId="2696"/>
        <pc:sldMkLst>
          <pc:docMk/>
          <pc:sldMk cId="2649616556" sldId="3266"/>
        </pc:sldMkLst>
        <pc:spChg chg="del mod ord">
          <ac:chgData name="Pierugo Pace" userId="2226acec-25d1-48aa-b467-65eac8578bef" providerId="ADAL" clId="{C473F347-30E6-4F99-BD43-7C0AE76DCA8B}" dt="2024-07-24T13:50:31.165" v="9293" actId="700"/>
          <ac:spMkLst>
            <pc:docMk/>
            <pc:sldMk cId="2649616556" sldId="3266"/>
            <ac:spMk id="2" creationId="{C2203E93-532F-0B92-0A74-15A64B3EB3D0}"/>
          </ac:spMkLst>
        </pc:spChg>
        <pc:spChg chg="del">
          <ac:chgData name="Pierugo Pace" userId="2226acec-25d1-48aa-b467-65eac8578bef" providerId="ADAL" clId="{C473F347-30E6-4F99-BD43-7C0AE76DCA8B}" dt="2024-07-24T13:50:31.165" v="9293" actId="700"/>
          <ac:spMkLst>
            <pc:docMk/>
            <pc:sldMk cId="2649616556" sldId="3266"/>
            <ac:spMk id="3" creationId="{6871FFA8-58B6-4AA4-9FBD-741C33C315ED}"/>
          </ac:spMkLst>
        </pc:spChg>
        <pc:spChg chg="del mod ord">
          <ac:chgData name="Pierugo Pace" userId="2226acec-25d1-48aa-b467-65eac8578bef" providerId="ADAL" clId="{C473F347-30E6-4F99-BD43-7C0AE76DCA8B}" dt="2024-07-24T13:50:31.165" v="9293" actId="700"/>
          <ac:spMkLst>
            <pc:docMk/>
            <pc:sldMk cId="2649616556" sldId="3266"/>
            <ac:spMk id="4" creationId="{75A12491-E85C-A87B-E838-DE894D6634FC}"/>
          </ac:spMkLst>
        </pc:spChg>
        <pc:spChg chg="del mod ord">
          <ac:chgData name="Pierugo Pace" userId="2226acec-25d1-48aa-b467-65eac8578bef" providerId="ADAL" clId="{C473F347-30E6-4F99-BD43-7C0AE76DCA8B}" dt="2024-07-24T13:50:31.165" v="9293" actId="700"/>
          <ac:spMkLst>
            <pc:docMk/>
            <pc:sldMk cId="2649616556" sldId="3266"/>
            <ac:spMk id="5" creationId="{22E34F10-9E85-DA87-3563-BAA6A2113674}"/>
          </ac:spMkLst>
        </pc:spChg>
        <pc:spChg chg="add mod ord">
          <ac:chgData name="Pierugo Pace" userId="2226acec-25d1-48aa-b467-65eac8578bef" providerId="ADAL" clId="{C473F347-30E6-4F99-BD43-7C0AE76DCA8B}" dt="2024-07-24T13:50:34.702" v="9294"/>
          <ac:spMkLst>
            <pc:docMk/>
            <pc:sldMk cId="2649616556" sldId="3266"/>
            <ac:spMk id="6" creationId="{EF4BFA36-7D1E-2A78-3BB9-CC6B93CC1571}"/>
          </ac:spMkLst>
        </pc:spChg>
        <pc:spChg chg="add mod ord">
          <ac:chgData name="Pierugo Pace" userId="2226acec-25d1-48aa-b467-65eac8578bef" providerId="ADAL" clId="{C473F347-30E6-4F99-BD43-7C0AE76DCA8B}" dt="2024-07-25T12:15:27.300" v="10339" actId="6549"/>
          <ac:spMkLst>
            <pc:docMk/>
            <pc:sldMk cId="2649616556" sldId="3266"/>
            <ac:spMk id="7" creationId="{9B33E6C3-F78B-1726-EC98-7629FA36BE19}"/>
          </ac:spMkLst>
        </pc:spChg>
        <pc:spChg chg="add mod ord">
          <ac:chgData name="Pierugo Pace" userId="2226acec-25d1-48aa-b467-65eac8578bef" providerId="ADAL" clId="{C473F347-30E6-4F99-BD43-7C0AE76DCA8B}" dt="2024-07-24T13:50:39.144" v="9296" actId="20577"/>
          <ac:spMkLst>
            <pc:docMk/>
            <pc:sldMk cId="2649616556" sldId="3266"/>
            <ac:spMk id="8" creationId="{D871C851-7408-C066-D4CD-BF741204DE78}"/>
          </ac:spMkLst>
        </pc:spChg>
      </pc:sldChg>
      <pc:sldChg chg="addSp delSp modSp add mod delAnim modAnim">
        <pc:chgData name="Pierugo Pace" userId="2226acec-25d1-48aa-b467-65eac8578bef" providerId="ADAL" clId="{C473F347-30E6-4F99-BD43-7C0AE76DCA8B}" dt="2024-07-24T14:06:09.249" v="10072" actId="20577"/>
        <pc:sldMkLst>
          <pc:docMk/>
          <pc:sldMk cId="2617376335" sldId="3267"/>
        </pc:sldMkLst>
        <pc:spChg chg="add del mod">
          <ac:chgData name="Pierugo Pace" userId="2226acec-25d1-48aa-b467-65eac8578bef" providerId="ADAL" clId="{C473F347-30E6-4F99-BD43-7C0AE76DCA8B}" dt="2024-07-24T13:57:22.257" v="9685" actId="478"/>
          <ac:spMkLst>
            <pc:docMk/>
            <pc:sldMk cId="2617376335" sldId="3267"/>
            <ac:spMk id="2" creationId="{AD7B171B-4A79-1262-831A-49D059B5C55A}"/>
          </ac:spMkLst>
        </pc:spChg>
        <pc:spChg chg="add mod">
          <ac:chgData name="Pierugo Pace" userId="2226acec-25d1-48aa-b467-65eac8578bef" providerId="ADAL" clId="{C473F347-30E6-4F99-BD43-7C0AE76DCA8B}" dt="2024-07-24T13:57:13.428" v="9683"/>
          <ac:spMkLst>
            <pc:docMk/>
            <pc:sldMk cId="2617376335" sldId="3267"/>
            <ac:spMk id="3" creationId="{7D47857C-A669-BF69-4967-D2AE7E8AF0CD}"/>
          </ac:spMkLst>
        </pc:spChg>
        <pc:spChg chg="add mod">
          <ac:chgData name="Pierugo Pace" userId="2226acec-25d1-48aa-b467-65eac8578bef" providerId="ADAL" clId="{C473F347-30E6-4F99-BD43-7C0AE76DCA8B}" dt="2024-07-24T13:57:38.106" v="9688"/>
          <ac:spMkLst>
            <pc:docMk/>
            <pc:sldMk cId="2617376335" sldId="3267"/>
            <ac:spMk id="4" creationId="{035738B2-3EDD-F1CE-ACFC-42F9657368C3}"/>
          </ac:spMkLst>
        </pc:spChg>
        <pc:spChg chg="mod">
          <ac:chgData name="Pierugo Pace" userId="2226acec-25d1-48aa-b467-65eac8578bef" providerId="ADAL" clId="{C473F347-30E6-4F99-BD43-7C0AE76DCA8B}" dt="2024-07-24T13:51:07.678" v="9331" actId="20577"/>
          <ac:spMkLst>
            <pc:docMk/>
            <pc:sldMk cId="2617376335" sldId="3267"/>
            <ac:spMk id="6" creationId="{EF4BFA36-7D1E-2A78-3BB9-CC6B93CC1571}"/>
          </ac:spMkLst>
        </pc:spChg>
        <pc:spChg chg="mod">
          <ac:chgData name="Pierugo Pace" userId="2226acec-25d1-48aa-b467-65eac8578bef" providerId="ADAL" clId="{C473F347-30E6-4F99-BD43-7C0AE76DCA8B}" dt="2024-07-24T14:06:09.249" v="10072" actId="20577"/>
          <ac:spMkLst>
            <pc:docMk/>
            <pc:sldMk cId="2617376335" sldId="3267"/>
            <ac:spMk id="7" creationId="{9B33E6C3-F78B-1726-EC98-7629FA36BE19}"/>
          </ac:spMkLst>
        </pc:spChg>
      </pc:sldChg>
      <pc:sldChg chg="addSp delSp modSp add mod modShow">
        <pc:chgData name="Pierugo Pace" userId="2226acec-25d1-48aa-b467-65eac8578bef" providerId="ADAL" clId="{C473F347-30E6-4F99-BD43-7C0AE76DCA8B}" dt="2024-07-26T06:55:49.979" v="10686" actId="6549"/>
        <pc:sldMkLst>
          <pc:docMk/>
          <pc:sldMk cId="4103852222" sldId="3268"/>
        </pc:sldMkLst>
        <pc:spChg chg="add del mod">
          <ac:chgData name="Pierugo Pace" userId="2226acec-25d1-48aa-b467-65eac8578bef" providerId="ADAL" clId="{C473F347-30E6-4F99-BD43-7C0AE76DCA8B}" dt="2024-07-24T13:52:29.264" v="9469" actId="1076"/>
          <ac:spMkLst>
            <pc:docMk/>
            <pc:sldMk cId="4103852222" sldId="3268"/>
            <ac:spMk id="8" creationId="{98F119C4-EFAA-9512-A471-1273E2278617}"/>
          </ac:spMkLst>
        </pc:spChg>
        <pc:spChg chg="mod">
          <ac:chgData name="Pierugo Pace" userId="2226acec-25d1-48aa-b467-65eac8578bef" providerId="ADAL" clId="{C473F347-30E6-4F99-BD43-7C0AE76DCA8B}" dt="2024-07-26T06:55:49.979" v="10686" actId="6549"/>
          <ac:spMkLst>
            <pc:docMk/>
            <pc:sldMk cId="4103852222" sldId="3268"/>
            <ac:spMk id="9" creationId="{91DFD1D3-7007-DA72-55B6-73D7D9CEE989}"/>
          </ac:spMkLst>
        </pc:spChg>
      </pc:sldChg>
      <pc:sldChg chg="addSp modSp add del mod">
        <pc:chgData name="Pierugo Pace" userId="2226acec-25d1-48aa-b467-65eac8578bef" providerId="ADAL" clId="{C473F347-30E6-4F99-BD43-7C0AE76DCA8B}" dt="2024-07-24T13:58:50.145" v="9828" actId="47"/>
        <pc:sldMkLst>
          <pc:docMk/>
          <pc:sldMk cId="1590552505" sldId="3269"/>
        </pc:sldMkLst>
        <pc:spChg chg="add mod">
          <ac:chgData name="Pierugo Pace" userId="2226acec-25d1-48aa-b467-65eac8578bef" providerId="ADAL" clId="{C473F347-30E6-4F99-BD43-7C0AE76DCA8B}" dt="2024-07-24T13:58:37.787" v="9825"/>
          <ac:spMkLst>
            <pc:docMk/>
            <pc:sldMk cId="1590552505" sldId="3269"/>
            <ac:spMk id="2" creationId="{E58C0810-7175-4B23-8CE2-3B0A71D298F0}"/>
          </ac:spMkLst>
        </pc:spChg>
        <pc:spChg chg="mod">
          <ac:chgData name="Pierugo Pace" userId="2226acec-25d1-48aa-b467-65eac8578bef" providerId="ADAL" clId="{C473F347-30E6-4F99-BD43-7C0AE76DCA8B}" dt="2024-07-24T13:53:34.006" v="9513" actId="20577"/>
          <ac:spMkLst>
            <pc:docMk/>
            <pc:sldMk cId="1590552505" sldId="3269"/>
            <ac:spMk id="6" creationId="{EF4BFA36-7D1E-2A78-3BB9-CC6B93CC1571}"/>
          </ac:spMkLst>
        </pc:spChg>
        <pc:spChg chg="mod">
          <ac:chgData name="Pierugo Pace" userId="2226acec-25d1-48aa-b467-65eac8578bef" providerId="ADAL" clId="{C473F347-30E6-4F99-BD43-7C0AE76DCA8B}" dt="2024-07-24T13:58:31.498" v="9824"/>
          <ac:spMkLst>
            <pc:docMk/>
            <pc:sldMk cId="1590552505" sldId="3269"/>
            <ac:spMk id="7" creationId="{9B33E6C3-F78B-1726-EC98-7629FA36BE19}"/>
          </ac:spMkLst>
        </pc:spChg>
      </pc:sldChg>
      <pc:sldChg chg="modSp add del mod">
        <pc:chgData name="Pierugo Pace" userId="2226acec-25d1-48aa-b467-65eac8578bef" providerId="ADAL" clId="{C473F347-30E6-4F99-BD43-7C0AE76DCA8B}" dt="2024-07-24T13:53:13.602" v="9488" actId="47"/>
        <pc:sldMkLst>
          <pc:docMk/>
          <pc:sldMk cId="2205850029" sldId="3269"/>
        </pc:sldMkLst>
        <pc:spChg chg="mod">
          <ac:chgData name="Pierugo Pace" userId="2226acec-25d1-48aa-b467-65eac8578bef" providerId="ADAL" clId="{C473F347-30E6-4F99-BD43-7C0AE76DCA8B}" dt="2024-07-24T13:52:45.830" v="9487" actId="20577"/>
          <ac:spMkLst>
            <pc:docMk/>
            <pc:sldMk cId="2205850029" sldId="3269"/>
            <ac:spMk id="6" creationId="{EF4BFA36-7D1E-2A78-3BB9-CC6B93CC1571}"/>
          </ac:spMkLst>
        </pc:spChg>
      </pc:sldChg>
      <pc:sldChg chg="modSp add mod modAnim">
        <pc:chgData name="Pierugo Pace" userId="2226acec-25d1-48aa-b467-65eac8578bef" providerId="ADAL" clId="{C473F347-30E6-4F99-BD43-7C0AE76DCA8B}" dt="2024-07-24T14:06:37.921" v="10079" actId="20577"/>
        <pc:sldMkLst>
          <pc:docMk/>
          <pc:sldMk cId="4074636107" sldId="3270"/>
        </pc:sldMkLst>
        <pc:spChg chg="mod">
          <ac:chgData name="Pierugo Pace" userId="2226acec-25d1-48aa-b467-65eac8578bef" providerId="ADAL" clId="{C473F347-30E6-4F99-BD43-7C0AE76DCA8B}" dt="2024-07-24T13:58:47.322" v="9827"/>
          <ac:spMkLst>
            <pc:docMk/>
            <pc:sldMk cId="4074636107" sldId="3270"/>
            <ac:spMk id="6" creationId="{EF4BFA36-7D1E-2A78-3BB9-CC6B93CC1571}"/>
          </ac:spMkLst>
        </pc:spChg>
        <pc:spChg chg="mod">
          <ac:chgData name="Pierugo Pace" userId="2226acec-25d1-48aa-b467-65eac8578bef" providerId="ADAL" clId="{C473F347-30E6-4F99-BD43-7C0AE76DCA8B}" dt="2024-07-24T14:06:37.921" v="10079" actId="20577"/>
          <ac:spMkLst>
            <pc:docMk/>
            <pc:sldMk cId="4074636107" sldId="3270"/>
            <ac:spMk id="7" creationId="{9B33E6C3-F78B-1726-EC98-7629FA36BE19}"/>
          </ac:spMkLst>
        </pc:spChg>
      </pc:sldChg>
      <pc:sldChg chg="addSp delSp modSp add mod delAnim">
        <pc:chgData name="Pierugo Pace" userId="2226acec-25d1-48aa-b467-65eac8578bef" providerId="ADAL" clId="{C473F347-30E6-4F99-BD43-7C0AE76DCA8B}" dt="2024-07-26T07:08:13.593" v="10744" actId="1076"/>
        <pc:sldMkLst>
          <pc:docMk/>
          <pc:sldMk cId="954587526" sldId="3271"/>
        </pc:sldMkLst>
        <pc:spChg chg="del">
          <ac:chgData name="Pierugo Pace" userId="2226acec-25d1-48aa-b467-65eac8578bef" providerId="ADAL" clId="{C473F347-30E6-4F99-BD43-7C0AE76DCA8B}" dt="2024-07-26T07:05:52.802" v="10724" actId="478"/>
          <ac:spMkLst>
            <pc:docMk/>
            <pc:sldMk cId="954587526" sldId="3271"/>
            <ac:spMk id="3" creationId="{8DC4B8A9-87F5-3C46-8C8C-5B396166EEC8}"/>
          </ac:spMkLst>
        </pc:spChg>
        <pc:spChg chg="add del mod">
          <ac:chgData name="Pierugo Pace" userId="2226acec-25d1-48aa-b467-65eac8578bef" providerId="ADAL" clId="{C473F347-30E6-4F99-BD43-7C0AE76DCA8B}" dt="2024-07-26T07:06:09.618" v="10726" actId="478"/>
          <ac:spMkLst>
            <pc:docMk/>
            <pc:sldMk cId="954587526" sldId="3271"/>
            <ac:spMk id="8" creationId="{1CBE5D53-59DD-C320-816A-D4EC31745E27}"/>
          </ac:spMkLst>
        </pc:spChg>
        <pc:spChg chg="add mod">
          <ac:chgData name="Pierugo Pace" userId="2226acec-25d1-48aa-b467-65eac8578bef" providerId="ADAL" clId="{C473F347-30E6-4F99-BD43-7C0AE76DCA8B}" dt="2024-07-26T07:08:13.593" v="10744" actId="1076"/>
          <ac:spMkLst>
            <pc:docMk/>
            <pc:sldMk cId="954587526" sldId="3271"/>
            <ac:spMk id="12" creationId="{53484D47-F17E-EBCC-7778-26551C4F66B9}"/>
          </ac:spMkLst>
        </pc:spChg>
        <pc:picChg chg="ord">
          <ac:chgData name="Pierugo Pace" userId="2226acec-25d1-48aa-b467-65eac8578bef" providerId="ADAL" clId="{C473F347-30E6-4F99-BD43-7C0AE76DCA8B}" dt="2024-07-26T07:06:21.570" v="10729" actId="166"/>
          <ac:picMkLst>
            <pc:docMk/>
            <pc:sldMk cId="954587526" sldId="3271"/>
            <ac:picMk id="6" creationId="{B2C4C198-0E68-BCEF-1AE2-2CD9C883EDA3}"/>
          </ac:picMkLst>
        </pc:picChg>
        <pc:picChg chg="add mod">
          <ac:chgData name="Pierugo Pace" userId="2226acec-25d1-48aa-b467-65eac8578bef" providerId="ADAL" clId="{C473F347-30E6-4F99-BD43-7C0AE76DCA8B}" dt="2024-07-26T07:06:15.643" v="10728" actId="1076"/>
          <ac:picMkLst>
            <pc:docMk/>
            <pc:sldMk cId="954587526" sldId="3271"/>
            <ac:picMk id="10" creationId="{EFDC2D0E-4FF1-051E-7213-5C133D1A7D5D}"/>
          </ac:picMkLst>
        </pc:picChg>
      </pc:sldChg>
      <pc:sldChg chg="addSp delSp modSp add mod modAnim">
        <pc:chgData name="Pierugo Pace" userId="2226acec-25d1-48aa-b467-65eac8578bef" providerId="ADAL" clId="{C473F347-30E6-4F99-BD43-7C0AE76DCA8B}" dt="2024-07-26T07:59:44.034" v="10974" actId="1076"/>
        <pc:sldMkLst>
          <pc:docMk/>
          <pc:sldMk cId="251874413" sldId="3272"/>
        </pc:sldMkLst>
        <pc:spChg chg="del">
          <ac:chgData name="Pierugo Pace" userId="2226acec-25d1-48aa-b467-65eac8578bef" providerId="ADAL" clId="{C473F347-30E6-4F99-BD43-7C0AE76DCA8B}" dt="2024-07-26T07:19:28.842" v="10810" actId="478"/>
          <ac:spMkLst>
            <pc:docMk/>
            <pc:sldMk cId="251874413" sldId="3272"/>
            <ac:spMk id="5" creationId="{72094F0D-2FC1-61FE-4FAF-88B81AD40A13}"/>
          </ac:spMkLst>
        </pc:spChg>
        <pc:spChg chg="add mod">
          <ac:chgData name="Pierugo Pace" userId="2226acec-25d1-48aa-b467-65eac8578bef" providerId="ADAL" clId="{C473F347-30E6-4F99-BD43-7C0AE76DCA8B}" dt="2024-07-26T07:23:13.385" v="10893" actId="1076"/>
          <ac:spMkLst>
            <pc:docMk/>
            <pc:sldMk cId="251874413" sldId="3272"/>
            <ac:spMk id="10" creationId="{4CC53BB2-2C94-FD99-052A-C1C61A85BAD0}"/>
          </ac:spMkLst>
        </pc:spChg>
        <pc:spChg chg="add mod">
          <ac:chgData name="Pierugo Pace" userId="2226acec-25d1-48aa-b467-65eac8578bef" providerId="ADAL" clId="{C473F347-30E6-4F99-BD43-7C0AE76DCA8B}" dt="2024-07-26T07:59:44.034" v="10974" actId="1076"/>
          <ac:spMkLst>
            <pc:docMk/>
            <pc:sldMk cId="251874413" sldId="3272"/>
            <ac:spMk id="11" creationId="{4867F2FB-33E7-99C9-CDDA-BE510B447278}"/>
          </ac:spMkLst>
        </pc:spChg>
        <pc:spChg chg="del">
          <ac:chgData name="Pierugo Pace" userId="2226acec-25d1-48aa-b467-65eac8578bef" providerId="ADAL" clId="{C473F347-30E6-4F99-BD43-7C0AE76DCA8B}" dt="2024-07-26T07:19:30.867" v="10811" actId="478"/>
          <ac:spMkLst>
            <pc:docMk/>
            <pc:sldMk cId="251874413" sldId="3272"/>
            <ac:spMk id="31" creationId="{BCDC990E-B36C-ADEB-5D84-64BE6A1D91B8}"/>
          </ac:spMkLst>
        </pc:spChg>
        <pc:spChg chg="del">
          <ac:chgData name="Pierugo Pace" userId="2226acec-25d1-48aa-b467-65eac8578bef" providerId="ADAL" clId="{C473F347-30E6-4F99-BD43-7C0AE76DCA8B}" dt="2024-07-26T07:19:33.793" v="10814" actId="478"/>
          <ac:spMkLst>
            <pc:docMk/>
            <pc:sldMk cId="251874413" sldId="3272"/>
            <ac:spMk id="33" creationId="{304E2DD1-CDD4-4480-E2CF-9E99EFF908B9}"/>
          </ac:spMkLst>
        </pc:spChg>
        <pc:spChg chg="del">
          <ac:chgData name="Pierugo Pace" userId="2226acec-25d1-48aa-b467-65eac8578bef" providerId="ADAL" clId="{C473F347-30E6-4F99-BD43-7C0AE76DCA8B}" dt="2024-07-26T07:19:35.808" v="10815" actId="478"/>
          <ac:spMkLst>
            <pc:docMk/>
            <pc:sldMk cId="251874413" sldId="3272"/>
            <ac:spMk id="34" creationId="{652A091B-B8E8-84D9-6E3F-87227002CED0}"/>
          </ac:spMkLst>
        </pc:spChg>
        <pc:spChg chg="del topLvl">
          <ac:chgData name="Pierugo Pace" userId="2226acec-25d1-48aa-b467-65eac8578bef" providerId="ADAL" clId="{C473F347-30E6-4F99-BD43-7C0AE76DCA8B}" dt="2024-07-26T07:19:38.610" v="10816" actId="478"/>
          <ac:spMkLst>
            <pc:docMk/>
            <pc:sldMk cId="251874413" sldId="3272"/>
            <ac:spMk id="35" creationId="{D95B7C00-23D6-416A-0AE9-9724568E47D6}"/>
          </ac:spMkLst>
        </pc:spChg>
        <pc:grpChg chg="ord">
          <ac:chgData name="Pierugo Pace" userId="2226acec-25d1-48aa-b467-65eac8578bef" providerId="ADAL" clId="{C473F347-30E6-4F99-BD43-7C0AE76DCA8B}" dt="2024-07-26T07:20:12.427" v="10821" actId="166"/>
          <ac:grpSpMkLst>
            <pc:docMk/>
            <pc:sldMk cId="251874413" sldId="3272"/>
            <ac:grpSpMk id="2" creationId="{E0AC091D-FE97-F966-F7CF-46C81C0B6762}"/>
          </ac:grpSpMkLst>
        </pc:grpChg>
        <pc:grpChg chg="add del">
          <ac:chgData name="Pierugo Pace" userId="2226acec-25d1-48aa-b467-65eac8578bef" providerId="ADAL" clId="{C473F347-30E6-4F99-BD43-7C0AE76DCA8B}" dt="2024-07-26T07:19:38.610" v="10816" actId="478"/>
          <ac:grpSpMkLst>
            <pc:docMk/>
            <pc:sldMk cId="251874413" sldId="3272"/>
            <ac:grpSpMk id="29" creationId="{C68C45EC-F54C-5FFE-B50C-02E5BF9FE46F}"/>
          </ac:grpSpMkLst>
        </pc:grpChg>
        <pc:picChg chg="add mod ord">
          <ac:chgData name="Pierugo Pace" userId="2226acec-25d1-48aa-b467-65eac8578bef" providerId="ADAL" clId="{C473F347-30E6-4F99-BD43-7C0AE76DCA8B}" dt="2024-07-26T07:21:18.328" v="10833" actId="166"/>
          <ac:picMkLst>
            <pc:docMk/>
            <pc:sldMk cId="251874413" sldId="3272"/>
            <ac:picMk id="7" creationId="{94DF9534-2D04-6F30-1EF1-077CB43E85C9}"/>
          </ac:picMkLst>
        </pc:picChg>
        <pc:picChg chg="ord topLvl">
          <ac:chgData name="Pierugo Pace" userId="2226acec-25d1-48aa-b467-65eac8578bef" providerId="ADAL" clId="{C473F347-30E6-4F99-BD43-7C0AE76DCA8B}" dt="2024-07-26T07:21:18.627" v="10834" actId="166"/>
          <ac:picMkLst>
            <pc:docMk/>
            <pc:sldMk cId="251874413" sldId="3272"/>
            <ac:picMk id="30" creationId="{56D493A6-F826-2EC9-14A3-5C1E757C50AC}"/>
          </ac:picMkLst>
        </pc:picChg>
        <pc:picChg chg="del">
          <ac:chgData name="Pierugo Pace" userId="2226acec-25d1-48aa-b467-65eac8578bef" providerId="ADAL" clId="{C473F347-30E6-4F99-BD43-7C0AE76DCA8B}" dt="2024-07-26T07:19:11.809" v="10805" actId="478"/>
          <ac:picMkLst>
            <pc:docMk/>
            <pc:sldMk cId="251874413" sldId="3272"/>
            <ac:picMk id="36" creationId="{26B5BD31-4D3B-8EF4-ECFA-C48732842FD0}"/>
          </ac:picMkLst>
        </pc:picChg>
        <pc:picChg chg="del">
          <ac:chgData name="Pierugo Pace" userId="2226acec-25d1-48aa-b467-65eac8578bef" providerId="ADAL" clId="{C473F347-30E6-4F99-BD43-7C0AE76DCA8B}" dt="2024-07-26T07:19:11.809" v="10805" actId="478"/>
          <ac:picMkLst>
            <pc:docMk/>
            <pc:sldMk cId="251874413" sldId="3272"/>
            <ac:picMk id="37" creationId="{2AEC1371-5EA3-87C0-FF36-914060D57C1A}"/>
          </ac:picMkLst>
        </pc:picChg>
        <pc:picChg chg="del">
          <ac:chgData name="Pierugo Pace" userId="2226acec-25d1-48aa-b467-65eac8578bef" providerId="ADAL" clId="{C473F347-30E6-4F99-BD43-7C0AE76DCA8B}" dt="2024-07-26T07:19:11.809" v="10805" actId="478"/>
          <ac:picMkLst>
            <pc:docMk/>
            <pc:sldMk cId="251874413" sldId="3272"/>
            <ac:picMk id="38" creationId="{C88C8E00-9717-1BFB-49C9-849CB6BDF8B6}"/>
          </ac:picMkLst>
        </pc:picChg>
        <pc:picChg chg="del">
          <ac:chgData name="Pierugo Pace" userId="2226acec-25d1-48aa-b467-65eac8578bef" providerId="ADAL" clId="{C473F347-30E6-4F99-BD43-7C0AE76DCA8B}" dt="2024-07-26T07:19:11.809" v="10805" actId="478"/>
          <ac:picMkLst>
            <pc:docMk/>
            <pc:sldMk cId="251874413" sldId="3272"/>
            <ac:picMk id="39" creationId="{5E914749-4B97-AC26-7A68-5A983539D6FF}"/>
          </ac:picMkLst>
        </pc:picChg>
        <pc:picChg chg="del">
          <ac:chgData name="Pierugo Pace" userId="2226acec-25d1-48aa-b467-65eac8578bef" providerId="ADAL" clId="{C473F347-30E6-4F99-BD43-7C0AE76DCA8B}" dt="2024-07-26T07:19:11.809" v="10805" actId="478"/>
          <ac:picMkLst>
            <pc:docMk/>
            <pc:sldMk cId="251874413" sldId="3272"/>
            <ac:picMk id="40" creationId="{AE79403C-AC01-A5A2-D7C6-9D55B11D806D}"/>
          </ac:picMkLst>
        </pc:picChg>
        <pc:picChg chg="del">
          <ac:chgData name="Pierugo Pace" userId="2226acec-25d1-48aa-b467-65eac8578bef" providerId="ADAL" clId="{C473F347-30E6-4F99-BD43-7C0AE76DCA8B}" dt="2024-07-26T07:19:11.809" v="10805" actId="478"/>
          <ac:picMkLst>
            <pc:docMk/>
            <pc:sldMk cId="251874413" sldId="3272"/>
            <ac:picMk id="41" creationId="{845BBF08-7BD6-5A1D-71C1-E18060B11778}"/>
          </ac:picMkLst>
        </pc:picChg>
      </pc:sldChg>
    </pc:docChg>
  </pc:docChgLst>
  <pc:docChgLst>
    <pc:chgData name="Pierugo Pace" userId="2226acec-25d1-48aa-b467-65eac8578bef" providerId="ADAL" clId="{79ED0C4E-7D31-4904-9824-CD42FD471766}"/>
    <pc:docChg chg="undo redo custSel addSld delSld modSld sldOrd modMainMaster modShowInfo">
      <pc:chgData name="Pierugo Pace" userId="2226acec-25d1-48aa-b467-65eac8578bef" providerId="ADAL" clId="{79ED0C4E-7D31-4904-9824-CD42FD471766}" dt="2024-04-24T11:36:18.352" v="13336" actId="2711"/>
      <pc:docMkLst>
        <pc:docMk/>
      </pc:docMkLst>
      <pc:sldChg chg="modSp mod modTransition">
        <pc:chgData name="Pierugo Pace" userId="2226acec-25d1-48aa-b467-65eac8578bef" providerId="ADAL" clId="{79ED0C4E-7D31-4904-9824-CD42FD471766}" dt="2024-04-22T06:48:47.588" v="11755"/>
        <pc:sldMkLst>
          <pc:docMk/>
          <pc:sldMk cId="761752595" sldId="3147"/>
        </pc:sldMkLst>
        <pc:spChg chg="mod">
          <ac:chgData name="Pierugo Pace" userId="2226acec-25d1-48aa-b467-65eac8578bef" providerId="ADAL" clId="{79ED0C4E-7D31-4904-9824-CD42FD471766}" dt="2024-04-21T09:18:11.069" v="10703"/>
          <ac:spMkLst>
            <pc:docMk/>
            <pc:sldMk cId="761752595" sldId="3147"/>
            <ac:spMk id="4" creationId="{58920B15-BB05-614E-A372-4349EA8BE1AD}"/>
          </ac:spMkLst>
        </pc:spChg>
        <pc:spChg chg="mod">
          <ac:chgData name="Pierugo Pace" userId="2226acec-25d1-48aa-b467-65eac8578bef" providerId="ADAL" clId="{79ED0C4E-7D31-4904-9824-CD42FD471766}" dt="2024-04-22T06:48:47.588" v="11755"/>
          <ac:spMkLst>
            <pc:docMk/>
            <pc:sldMk cId="761752595" sldId="3147"/>
            <ac:spMk id="6" creationId="{1D93C51C-C951-004C-95C5-ED97CC34E47B}"/>
          </ac:spMkLst>
        </pc:spChg>
      </pc:sldChg>
      <pc:sldChg chg="modSp mod modTransition modAnim modNotesTx">
        <pc:chgData name="Pierugo Pace" userId="2226acec-25d1-48aa-b467-65eac8578bef" providerId="ADAL" clId="{79ED0C4E-7D31-4904-9824-CD42FD471766}" dt="2024-04-19T13:02:19.965" v="10442"/>
        <pc:sldMkLst>
          <pc:docMk/>
          <pc:sldMk cId="508269740" sldId="3148"/>
        </pc:sldMkLst>
        <pc:spChg chg="mod">
          <ac:chgData name="Pierugo Pace" userId="2226acec-25d1-48aa-b467-65eac8578bef" providerId="ADAL" clId="{79ED0C4E-7D31-4904-9824-CD42FD471766}" dt="2024-04-19T06:43:59.859" v="4743" actId="20577"/>
          <ac:spMkLst>
            <pc:docMk/>
            <pc:sldMk cId="508269740" sldId="3148"/>
            <ac:spMk id="3" creationId="{8DC4B8A9-87F5-3C46-8C8C-5B396166EEC8}"/>
          </ac:spMkLst>
        </pc:spChg>
      </pc:sldChg>
      <pc:sldChg chg="modTransition">
        <pc:chgData name="Pierugo Pace" userId="2226acec-25d1-48aa-b467-65eac8578bef" providerId="ADAL" clId="{79ED0C4E-7D31-4904-9824-CD42FD471766}" dt="2024-04-19T13:02:19.965" v="10442"/>
        <pc:sldMkLst>
          <pc:docMk/>
          <pc:sldMk cId="3475273546" sldId="3211"/>
        </pc:sldMkLst>
      </pc:sldChg>
      <pc:sldChg chg="addSp delSp modSp mod modClrScheme modAnim chgLayout modNotesTx">
        <pc:chgData name="Pierugo Pace" userId="2226acec-25d1-48aa-b467-65eac8578bef" providerId="ADAL" clId="{79ED0C4E-7D31-4904-9824-CD42FD471766}" dt="2024-04-22T12:43:35.500" v="12060"/>
        <pc:sldMkLst>
          <pc:docMk/>
          <pc:sldMk cId="1652418690" sldId="3212"/>
        </pc:sldMkLst>
        <pc:spChg chg="add del">
          <ac:chgData name="Pierugo Pace" userId="2226acec-25d1-48aa-b467-65eac8578bef" providerId="ADAL" clId="{79ED0C4E-7D31-4904-9824-CD42FD471766}" dt="2024-04-22T06:32:25.123" v="11287" actId="11529"/>
          <ac:spMkLst>
            <pc:docMk/>
            <pc:sldMk cId="1652418690" sldId="3212"/>
            <ac:spMk id="2" creationId="{69C4A013-002F-8DA2-D6FB-BF499A16B3BD}"/>
          </ac:spMkLst>
        </pc:spChg>
        <pc:spChg chg="add mod">
          <ac:chgData name="Pierugo Pace" userId="2226acec-25d1-48aa-b467-65eac8578bef" providerId="ADAL" clId="{79ED0C4E-7D31-4904-9824-CD42FD471766}" dt="2024-04-22T06:33:51.812" v="11356" actId="1035"/>
          <ac:spMkLst>
            <pc:docMk/>
            <pc:sldMk cId="1652418690" sldId="3212"/>
            <ac:spMk id="3" creationId="{18FFB2DF-2CAA-A769-9081-81F0EB511705}"/>
          </ac:spMkLst>
        </pc:spChg>
        <pc:spChg chg="del mod ord">
          <ac:chgData name="Pierugo Pace" userId="2226acec-25d1-48aa-b467-65eac8578bef" providerId="ADAL" clId="{79ED0C4E-7D31-4904-9824-CD42FD471766}" dt="2024-04-19T07:08:51.079" v="4946" actId="700"/>
          <ac:spMkLst>
            <pc:docMk/>
            <pc:sldMk cId="1652418690" sldId="3212"/>
            <ac:spMk id="3" creationId="{8DC4B8A9-87F5-3C46-8C8C-5B396166EEC8}"/>
          </ac:spMkLst>
        </pc:spChg>
        <pc:spChg chg="mod ord">
          <ac:chgData name="Pierugo Pace" userId="2226acec-25d1-48aa-b467-65eac8578bef" providerId="ADAL" clId="{79ED0C4E-7D31-4904-9824-CD42FD471766}" dt="2024-04-19T07:08:51.079" v="4946" actId="700"/>
          <ac:spMkLst>
            <pc:docMk/>
            <pc:sldMk cId="1652418690" sldId="3212"/>
            <ac:spMk id="4" creationId="{950C71FA-31D6-E24E-82F0-93559BE56F80}"/>
          </ac:spMkLst>
        </pc:spChg>
        <pc:spChg chg="del mod ord">
          <ac:chgData name="Pierugo Pace" userId="2226acec-25d1-48aa-b467-65eac8578bef" providerId="ADAL" clId="{79ED0C4E-7D31-4904-9824-CD42FD471766}" dt="2024-04-19T07:09:01.527" v="4949" actId="478"/>
          <ac:spMkLst>
            <pc:docMk/>
            <pc:sldMk cId="1652418690" sldId="3212"/>
            <ac:spMk id="5" creationId="{EC1D3909-932D-1C4E-9F8F-1E77B13BBB30}"/>
          </ac:spMkLst>
        </pc:spChg>
        <pc:spChg chg="add mod">
          <ac:chgData name="Pierugo Pace" userId="2226acec-25d1-48aa-b467-65eac8578bef" providerId="ADAL" clId="{79ED0C4E-7D31-4904-9824-CD42FD471766}" dt="2024-04-22T06:34:43.860" v="11379" actId="207"/>
          <ac:spMkLst>
            <pc:docMk/>
            <pc:sldMk cId="1652418690" sldId="3212"/>
            <ac:spMk id="7" creationId="{52258884-3A9B-84B0-49DD-F1CA0BFCDB2A}"/>
          </ac:spMkLst>
        </pc:spChg>
        <pc:spChg chg="add mod">
          <ac:chgData name="Pierugo Pace" userId="2226acec-25d1-48aa-b467-65eac8578bef" providerId="ADAL" clId="{79ED0C4E-7D31-4904-9824-CD42FD471766}" dt="2024-04-22T12:43:35.500" v="12060"/>
          <ac:spMkLst>
            <pc:docMk/>
            <pc:sldMk cId="1652418690" sldId="3212"/>
            <ac:spMk id="9" creationId="{E0D8A94A-BA25-83CF-E34C-9B4E39A473CC}"/>
          </ac:spMkLst>
        </pc:spChg>
        <pc:spChg chg="add del mod ord">
          <ac:chgData name="Pierugo Pace" userId="2226acec-25d1-48aa-b467-65eac8578bef" providerId="ADAL" clId="{79ED0C4E-7D31-4904-9824-CD42FD471766}" dt="2024-04-19T08:12:20.904" v="6021" actId="478"/>
          <ac:spMkLst>
            <pc:docMk/>
            <pc:sldMk cId="1652418690" sldId="3212"/>
            <ac:spMk id="13" creationId="{446036A9-9307-4558-654B-54BDF927F4BB}"/>
          </ac:spMkLst>
        </pc:spChg>
        <pc:spChg chg="add mod ord">
          <ac:chgData name="Pierugo Pace" userId="2226acec-25d1-48aa-b467-65eac8578bef" providerId="ADAL" clId="{79ED0C4E-7D31-4904-9824-CD42FD471766}" dt="2024-04-19T07:08:55.619" v="4948"/>
          <ac:spMkLst>
            <pc:docMk/>
            <pc:sldMk cId="1652418690" sldId="3212"/>
            <ac:spMk id="14" creationId="{906A0CD7-1992-4D99-0241-0586C5715EA5}"/>
          </ac:spMkLst>
        </pc:spChg>
        <pc:spChg chg="add del mod">
          <ac:chgData name="Pierugo Pace" userId="2226acec-25d1-48aa-b467-65eac8578bef" providerId="ADAL" clId="{79ED0C4E-7D31-4904-9824-CD42FD471766}" dt="2024-04-19T08:26:07.237" v="6225" actId="478"/>
          <ac:spMkLst>
            <pc:docMk/>
            <pc:sldMk cId="1652418690" sldId="3212"/>
            <ac:spMk id="15" creationId="{0AA244E6-6E9E-6A61-3C9C-308705E08EAB}"/>
          </ac:spMkLst>
        </pc:spChg>
        <pc:spChg chg="add mod topLvl">
          <ac:chgData name="Pierugo Pace" userId="2226acec-25d1-48aa-b467-65eac8578bef" providerId="ADAL" clId="{79ED0C4E-7D31-4904-9824-CD42FD471766}" dt="2024-04-19T09:28:20.014" v="7336"/>
          <ac:spMkLst>
            <pc:docMk/>
            <pc:sldMk cId="1652418690" sldId="3212"/>
            <ac:spMk id="25" creationId="{03C73148-D670-2D36-6D5D-01F07B9811F3}"/>
          </ac:spMkLst>
        </pc:spChg>
        <pc:spChg chg="add mod topLvl">
          <ac:chgData name="Pierugo Pace" userId="2226acec-25d1-48aa-b467-65eac8578bef" providerId="ADAL" clId="{79ED0C4E-7D31-4904-9824-CD42FD471766}" dt="2024-04-19T09:28:20.014" v="7336"/>
          <ac:spMkLst>
            <pc:docMk/>
            <pc:sldMk cId="1652418690" sldId="3212"/>
            <ac:spMk id="26" creationId="{5667A943-58BA-2E1E-D55A-033C0DBA63E0}"/>
          </ac:spMkLst>
        </pc:spChg>
        <pc:spChg chg="add mod topLvl">
          <ac:chgData name="Pierugo Pace" userId="2226acec-25d1-48aa-b467-65eac8578bef" providerId="ADAL" clId="{79ED0C4E-7D31-4904-9824-CD42FD471766}" dt="2024-04-19T08:06:33.103" v="5923" actId="164"/>
          <ac:spMkLst>
            <pc:docMk/>
            <pc:sldMk cId="1652418690" sldId="3212"/>
            <ac:spMk id="28" creationId="{145CA382-591C-6073-1839-022C5AE1C150}"/>
          </ac:spMkLst>
        </pc:spChg>
        <pc:spChg chg="add del mod topLvl">
          <ac:chgData name="Pierugo Pace" userId="2226acec-25d1-48aa-b467-65eac8578bef" providerId="ADAL" clId="{79ED0C4E-7D31-4904-9824-CD42FD471766}" dt="2024-04-19T07:59:46.088" v="5806" actId="478"/>
          <ac:spMkLst>
            <pc:docMk/>
            <pc:sldMk cId="1652418690" sldId="3212"/>
            <ac:spMk id="31" creationId="{3339403E-3ACC-CD53-1C3F-63B897114F85}"/>
          </ac:spMkLst>
        </pc:spChg>
        <pc:spChg chg="add del mod">
          <ac:chgData name="Pierugo Pace" userId="2226acec-25d1-48aa-b467-65eac8578bef" providerId="ADAL" clId="{79ED0C4E-7D31-4904-9824-CD42FD471766}" dt="2024-04-19T07:33:01.829" v="5353" actId="478"/>
          <ac:spMkLst>
            <pc:docMk/>
            <pc:sldMk cId="1652418690" sldId="3212"/>
            <ac:spMk id="32" creationId="{D6827F5A-B1F0-930A-D3E4-F59DEEE014A1}"/>
          </ac:spMkLst>
        </pc:spChg>
        <pc:spChg chg="add del mod topLvl">
          <ac:chgData name="Pierugo Pace" userId="2226acec-25d1-48aa-b467-65eac8578bef" providerId="ADAL" clId="{79ED0C4E-7D31-4904-9824-CD42FD471766}" dt="2024-04-19T07:59:47.202" v="5807" actId="478"/>
          <ac:spMkLst>
            <pc:docMk/>
            <pc:sldMk cId="1652418690" sldId="3212"/>
            <ac:spMk id="33" creationId="{2A96076A-4F8B-F024-DF03-13B69D473381}"/>
          </ac:spMkLst>
        </pc:spChg>
        <pc:spChg chg="mod">
          <ac:chgData name="Pierugo Pace" userId="2226acec-25d1-48aa-b467-65eac8578bef" providerId="ADAL" clId="{79ED0C4E-7D31-4904-9824-CD42FD471766}" dt="2024-04-19T07:38:36.266" v="5467" actId="571"/>
          <ac:spMkLst>
            <pc:docMk/>
            <pc:sldMk cId="1652418690" sldId="3212"/>
            <ac:spMk id="38" creationId="{DB5B2D61-98B4-2066-6702-9D2F4068B15A}"/>
          </ac:spMkLst>
        </pc:spChg>
        <pc:spChg chg="mod">
          <ac:chgData name="Pierugo Pace" userId="2226acec-25d1-48aa-b467-65eac8578bef" providerId="ADAL" clId="{79ED0C4E-7D31-4904-9824-CD42FD471766}" dt="2024-04-19T07:38:36.266" v="5467" actId="571"/>
          <ac:spMkLst>
            <pc:docMk/>
            <pc:sldMk cId="1652418690" sldId="3212"/>
            <ac:spMk id="39" creationId="{5A5011D5-B834-4CE0-45A8-973ADE077DA5}"/>
          </ac:spMkLst>
        </pc:spChg>
        <pc:spChg chg="mod">
          <ac:chgData name="Pierugo Pace" userId="2226acec-25d1-48aa-b467-65eac8578bef" providerId="ADAL" clId="{79ED0C4E-7D31-4904-9824-CD42FD471766}" dt="2024-04-19T07:38:36.266" v="5467" actId="571"/>
          <ac:spMkLst>
            <pc:docMk/>
            <pc:sldMk cId="1652418690" sldId="3212"/>
            <ac:spMk id="42" creationId="{AC067D5E-5574-4FD7-AC62-39FB5FF0FCD5}"/>
          </ac:spMkLst>
        </pc:spChg>
        <pc:spChg chg="mod">
          <ac:chgData name="Pierugo Pace" userId="2226acec-25d1-48aa-b467-65eac8578bef" providerId="ADAL" clId="{79ED0C4E-7D31-4904-9824-CD42FD471766}" dt="2024-04-19T07:38:36.266" v="5467" actId="571"/>
          <ac:spMkLst>
            <pc:docMk/>
            <pc:sldMk cId="1652418690" sldId="3212"/>
            <ac:spMk id="43" creationId="{456476D8-36CF-BAEB-729D-8FFA103953CF}"/>
          </ac:spMkLst>
        </pc:spChg>
        <pc:spChg chg="mod">
          <ac:chgData name="Pierugo Pace" userId="2226acec-25d1-48aa-b467-65eac8578bef" providerId="ADAL" clId="{79ED0C4E-7D31-4904-9824-CD42FD471766}" dt="2024-04-19T07:38:36.266" v="5467" actId="571"/>
          <ac:spMkLst>
            <pc:docMk/>
            <pc:sldMk cId="1652418690" sldId="3212"/>
            <ac:spMk id="44" creationId="{B8143BCB-1E80-F50A-05F5-7E523CC659F8}"/>
          </ac:spMkLst>
        </pc:spChg>
        <pc:spChg chg="add mod">
          <ac:chgData name="Pierugo Pace" userId="2226acec-25d1-48aa-b467-65eac8578bef" providerId="ADAL" clId="{79ED0C4E-7D31-4904-9824-CD42FD471766}" dt="2024-04-19T07:43:10.842" v="5503" actId="767"/>
          <ac:spMkLst>
            <pc:docMk/>
            <pc:sldMk cId="1652418690" sldId="3212"/>
            <ac:spMk id="47" creationId="{B86820FD-5F63-9279-78B7-DC547DAAE7E5}"/>
          </ac:spMkLst>
        </pc:spChg>
        <pc:spChg chg="add mod topLvl">
          <ac:chgData name="Pierugo Pace" userId="2226acec-25d1-48aa-b467-65eac8578bef" providerId="ADAL" clId="{79ED0C4E-7D31-4904-9824-CD42FD471766}" dt="2024-04-19T09:32:31.934" v="7376" actId="207"/>
          <ac:spMkLst>
            <pc:docMk/>
            <pc:sldMk cId="1652418690" sldId="3212"/>
            <ac:spMk id="48" creationId="{49C970C4-9377-F6E8-25D7-38A37E92F0E4}"/>
          </ac:spMkLst>
        </pc:spChg>
        <pc:spChg chg="add mod topLvl">
          <ac:chgData name="Pierugo Pace" userId="2226acec-25d1-48aa-b467-65eac8578bef" providerId="ADAL" clId="{79ED0C4E-7D31-4904-9824-CD42FD471766}" dt="2024-04-19T08:21:20.274" v="6184" actId="164"/>
          <ac:spMkLst>
            <pc:docMk/>
            <pc:sldMk cId="1652418690" sldId="3212"/>
            <ac:spMk id="49" creationId="{E0FB1B1A-E673-8B57-1384-552670105A62}"/>
          </ac:spMkLst>
        </pc:spChg>
        <pc:spChg chg="add mod">
          <ac:chgData name="Pierugo Pace" userId="2226acec-25d1-48aa-b467-65eac8578bef" providerId="ADAL" clId="{79ED0C4E-7D31-4904-9824-CD42FD471766}" dt="2024-04-19T07:58:56.980" v="5801"/>
          <ac:spMkLst>
            <pc:docMk/>
            <pc:sldMk cId="1652418690" sldId="3212"/>
            <ac:spMk id="52" creationId="{17FCEDF5-BB20-50FE-686B-43A2321EF13A}"/>
          </ac:spMkLst>
        </pc:spChg>
        <pc:spChg chg="add mod">
          <ac:chgData name="Pierugo Pace" userId="2226acec-25d1-48aa-b467-65eac8578bef" providerId="ADAL" clId="{79ED0C4E-7D31-4904-9824-CD42FD471766}" dt="2024-04-19T07:58:56.980" v="5801"/>
          <ac:spMkLst>
            <pc:docMk/>
            <pc:sldMk cId="1652418690" sldId="3212"/>
            <ac:spMk id="53" creationId="{923241CD-9EF4-2B13-E8F2-13F3BAB749B4}"/>
          </ac:spMkLst>
        </pc:spChg>
        <pc:spChg chg="add mod">
          <ac:chgData name="Pierugo Pace" userId="2226acec-25d1-48aa-b467-65eac8578bef" providerId="ADAL" clId="{79ED0C4E-7D31-4904-9824-CD42FD471766}" dt="2024-04-19T07:58:56.980" v="5801"/>
          <ac:spMkLst>
            <pc:docMk/>
            <pc:sldMk cId="1652418690" sldId="3212"/>
            <ac:spMk id="54" creationId="{DCEE7E81-99D8-891F-0C95-D79B69C8BEE0}"/>
          </ac:spMkLst>
        </pc:spChg>
        <pc:spChg chg="add mod topLvl">
          <ac:chgData name="Pierugo Pace" userId="2226acec-25d1-48aa-b467-65eac8578bef" providerId="ADAL" clId="{79ED0C4E-7D31-4904-9824-CD42FD471766}" dt="2024-04-19T08:17:46.466" v="6139" actId="164"/>
          <ac:spMkLst>
            <pc:docMk/>
            <pc:sldMk cId="1652418690" sldId="3212"/>
            <ac:spMk id="55" creationId="{81352604-8BC4-24E1-6148-E72F8AE08DA5}"/>
          </ac:spMkLst>
        </pc:spChg>
        <pc:spChg chg="add mod topLvl">
          <ac:chgData name="Pierugo Pace" userId="2226acec-25d1-48aa-b467-65eac8578bef" providerId="ADAL" clId="{79ED0C4E-7D31-4904-9824-CD42FD471766}" dt="2024-04-19T08:17:46.466" v="6139" actId="164"/>
          <ac:spMkLst>
            <pc:docMk/>
            <pc:sldMk cId="1652418690" sldId="3212"/>
            <ac:spMk id="56" creationId="{455D138D-9F00-50A6-9C16-2FBDE5B7A69C}"/>
          </ac:spMkLst>
        </pc:spChg>
        <pc:spChg chg="add mod topLvl">
          <ac:chgData name="Pierugo Pace" userId="2226acec-25d1-48aa-b467-65eac8578bef" providerId="ADAL" clId="{79ED0C4E-7D31-4904-9824-CD42FD471766}" dt="2024-04-19T08:17:46.466" v="6139" actId="164"/>
          <ac:spMkLst>
            <pc:docMk/>
            <pc:sldMk cId="1652418690" sldId="3212"/>
            <ac:spMk id="57" creationId="{442F5511-BC40-C6FE-F883-F34A4B6E8898}"/>
          </ac:spMkLst>
        </pc:spChg>
        <pc:spChg chg="add del mod">
          <ac:chgData name="Pierugo Pace" userId="2226acec-25d1-48aa-b467-65eac8578bef" providerId="ADAL" clId="{79ED0C4E-7D31-4904-9824-CD42FD471766}" dt="2024-04-19T09:02:43.469" v="6878" actId="478"/>
          <ac:spMkLst>
            <pc:docMk/>
            <pc:sldMk cId="1652418690" sldId="3212"/>
            <ac:spMk id="59" creationId="{A7D56B56-A4B5-3E12-5628-FD8ED8123C10}"/>
          </ac:spMkLst>
        </pc:spChg>
        <pc:spChg chg="add mod">
          <ac:chgData name="Pierugo Pace" userId="2226acec-25d1-48aa-b467-65eac8578bef" providerId="ADAL" clId="{79ED0C4E-7D31-4904-9824-CD42FD471766}" dt="2024-04-19T09:16:06.100" v="7144" actId="1076"/>
          <ac:spMkLst>
            <pc:docMk/>
            <pc:sldMk cId="1652418690" sldId="3212"/>
            <ac:spMk id="60" creationId="{B9775471-4B89-5431-3882-297DB555A703}"/>
          </ac:spMkLst>
        </pc:spChg>
        <pc:spChg chg="add del mod">
          <ac:chgData name="Pierugo Pace" userId="2226acec-25d1-48aa-b467-65eac8578bef" providerId="ADAL" clId="{79ED0C4E-7D31-4904-9824-CD42FD471766}" dt="2024-04-19T08:12:22.643" v="6022" actId="478"/>
          <ac:spMkLst>
            <pc:docMk/>
            <pc:sldMk cId="1652418690" sldId="3212"/>
            <ac:spMk id="64" creationId="{1C4E5F09-7E0C-F416-BF49-ACBE11BFABD4}"/>
          </ac:spMkLst>
        </pc:spChg>
        <pc:spChg chg="mod">
          <ac:chgData name="Pierugo Pace" userId="2226acec-25d1-48aa-b467-65eac8578bef" providerId="ADAL" clId="{79ED0C4E-7D31-4904-9824-CD42FD471766}" dt="2024-04-19T08:13:10.840" v="6030" actId="571"/>
          <ac:spMkLst>
            <pc:docMk/>
            <pc:sldMk cId="1652418690" sldId="3212"/>
            <ac:spMk id="71" creationId="{CE5C5D38-12F1-2187-1999-EC9E54E14A22}"/>
          </ac:spMkLst>
        </pc:spChg>
        <pc:spChg chg="mod">
          <ac:chgData name="Pierugo Pace" userId="2226acec-25d1-48aa-b467-65eac8578bef" providerId="ADAL" clId="{79ED0C4E-7D31-4904-9824-CD42FD471766}" dt="2024-04-19T08:13:10.840" v="6030" actId="571"/>
          <ac:spMkLst>
            <pc:docMk/>
            <pc:sldMk cId="1652418690" sldId="3212"/>
            <ac:spMk id="72" creationId="{27F69EC9-B6BF-3862-868D-52AD206ED142}"/>
          </ac:spMkLst>
        </pc:spChg>
        <pc:spChg chg="mod">
          <ac:chgData name="Pierugo Pace" userId="2226acec-25d1-48aa-b467-65eac8578bef" providerId="ADAL" clId="{79ED0C4E-7D31-4904-9824-CD42FD471766}" dt="2024-04-19T08:13:10.840" v="6030" actId="571"/>
          <ac:spMkLst>
            <pc:docMk/>
            <pc:sldMk cId="1652418690" sldId="3212"/>
            <ac:spMk id="75" creationId="{DE73E878-F5EE-051C-0D94-96D996FA1AE9}"/>
          </ac:spMkLst>
        </pc:spChg>
        <pc:spChg chg="mod">
          <ac:chgData name="Pierugo Pace" userId="2226acec-25d1-48aa-b467-65eac8578bef" providerId="ADAL" clId="{79ED0C4E-7D31-4904-9824-CD42FD471766}" dt="2024-04-19T08:13:10.840" v="6030" actId="571"/>
          <ac:spMkLst>
            <pc:docMk/>
            <pc:sldMk cId="1652418690" sldId="3212"/>
            <ac:spMk id="77" creationId="{5230AFE3-3E47-C8A8-8B42-6DCE19F48C3D}"/>
          </ac:spMkLst>
        </pc:spChg>
        <pc:spChg chg="mod">
          <ac:chgData name="Pierugo Pace" userId="2226acec-25d1-48aa-b467-65eac8578bef" providerId="ADAL" clId="{79ED0C4E-7D31-4904-9824-CD42FD471766}" dt="2024-04-19T08:13:10.840" v="6030" actId="571"/>
          <ac:spMkLst>
            <pc:docMk/>
            <pc:sldMk cId="1652418690" sldId="3212"/>
            <ac:spMk id="78" creationId="{2D4BFC9A-A046-860B-197F-C7084BA63842}"/>
          </ac:spMkLst>
        </pc:spChg>
        <pc:spChg chg="mod">
          <ac:chgData name="Pierugo Pace" userId="2226acec-25d1-48aa-b467-65eac8578bef" providerId="ADAL" clId="{79ED0C4E-7D31-4904-9824-CD42FD471766}" dt="2024-04-19T08:13:10.840" v="6030" actId="571"/>
          <ac:spMkLst>
            <pc:docMk/>
            <pc:sldMk cId="1652418690" sldId="3212"/>
            <ac:spMk id="80" creationId="{65FE018C-C217-942E-3119-600B672CEB73}"/>
          </ac:spMkLst>
        </pc:spChg>
        <pc:spChg chg="mod">
          <ac:chgData name="Pierugo Pace" userId="2226acec-25d1-48aa-b467-65eac8578bef" providerId="ADAL" clId="{79ED0C4E-7D31-4904-9824-CD42FD471766}" dt="2024-04-19T08:13:10.840" v="6030" actId="571"/>
          <ac:spMkLst>
            <pc:docMk/>
            <pc:sldMk cId="1652418690" sldId="3212"/>
            <ac:spMk id="81" creationId="{6F7B33F0-F3C6-0FC3-D1BA-044448633D74}"/>
          </ac:spMkLst>
        </pc:spChg>
        <pc:spChg chg="mod">
          <ac:chgData name="Pierugo Pace" userId="2226acec-25d1-48aa-b467-65eac8578bef" providerId="ADAL" clId="{79ED0C4E-7D31-4904-9824-CD42FD471766}" dt="2024-04-19T08:13:10.840" v="6030" actId="571"/>
          <ac:spMkLst>
            <pc:docMk/>
            <pc:sldMk cId="1652418690" sldId="3212"/>
            <ac:spMk id="82" creationId="{65C0A112-0E16-191F-58E3-5269193CDCD6}"/>
          </ac:spMkLst>
        </pc:spChg>
        <pc:spChg chg="add mod">
          <ac:chgData name="Pierugo Pace" userId="2226acec-25d1-48aa-b467-65eac8578bef" providerId="ADAL" clId="{79ED0C4E-7D31-4904-9824-CD42FD471766}" dt="2024-04-19T08:13:10.840" v="6030" actId="571"/>
          <ac:spMkLst>
            <pc:docMk/>
            <pc:sldMk cId="1652418690" sldId="3212"/>
            <ac:spMk id="83" creationId="{312074A2-B427-605B-75B2-B4EAFD6D8658}"/>
          </ac:spMkLst>
        </pc:spChg>
        <pc:spChg chg="add mod">
          <ac:chgData name="Pierugo Pace" userId="2226acec-25d1-48aa-b467-65eac8578bef" providerId="ADAL" clId="{79ED0C4E-7D31-4904-9824-CD42FD471766}" dt="2024-04-19T08:13:10.840" v="6030" actId="571"/>
          <ac:spMkLst>
            <pc:docMk/>
            <pc:sldMk cId="1652418690" sldId="3212"/>
            <ac:spMk id="84" creationId="{7E06E423-7626-DDE3-F957-DB9A15EB8D9A}"/>
          </ac:spMkLst>
        </pc:spChg>
        <pc:spChg chg="add del mod">
          <ac:chgData name="Pierugo Pace" userId="2226acec-25d1-48aa-b467-65eac8578bef" providerId="ADAL" clId="{79ED0C4E-7D31-4904-9824-CD42FD471766}" dt="2024-04-19T09:02:43.469" v="6878" actId="478"/>
          <ac:spMkLst>
            <pc:docMk/>
            <pc:sldMk cId="1652418690" sldId="3212"/>
            <ac:spMk id="85" creationId="{51F8C54D-ADD8-CB7B-4105-17CB169E577F}"/>
          </ac:spMkLst>
        </pc:spChg>
        <pc:spChg chg="add del mod">
          <ac:chgData name="Pierugo Pace" userId="2226acec-25d1-48aa-b467-65eac8578bef" providerId="ADAL" clId="{79ED0C4E-7D31-4904-9824-CD42FD471766}" dt="2024-04-19T08:35:54.270" v="6555" actId="478"/>
          <ac:spMkLst>
            <pc:docMk/>
            <pc:sldMk cId="1652418690" sldId="3212"/>
            <ac:spMk id="88" creationId="{DEF826D4-245B-4BBE-5DA7-21B2F0090CA7}"/>
          </ac:spMkLst>
        </pc:spChg>
        <pc:spChg chg="add del mod">
          <ac:chgData name="Pierugo Pace" userId="2226acec-25d1-48aa-b467-65eac8578bef" providerId="ADAL" clId="{79ED0C4E-7D31-4904-9824-CD42FD471766}" dt="2024-04-19T09:32:40.105" v="7378" actId="478"/>
          <ac:spMkLst>
            <pc:docMk/>
            <pc:sldMk cId="1652418690" sldId="3212"/>
            <ac:spMk id="89" creationId="{DA93B3CA-3BBF-7D12-0189-4FEE8B95ACD9}"/>
          </ac:spMkLst>
        </pc:spChg>
        <pc:spChg chg="add del">
          <ac:chgData name="Pierugo Pace" userId="2226acec-25d1-48aa-b467-65eac8578bef" providerId="ADAL" clId="{79ED0C4E-7D31-4904-9824-CD42FD471766}" dt="2024-04-19T09:02:53.342" v="6881" actId="478"/>
          <ac:spMkLst>
            <pc:docMk/>
            <pc:sldMk cId="1652418690" sldId="3212"/>
            <ac:spMk id="92" creationId="{85C89712-A1D3-71B6-952E-1AF77F917BC4}"/>
          </ac:spMkLst>
        </pc:spChg>
        <pc:spChg chg="mod">
          <ac:chgData name="Pierugo Pace" userId="2226acec-25d1-48aa-b467-65eac8578bef" providerId="ADAL" clId="{79ED0C4E-7D31-4904-9824-CD42FD471766}" dt="2024-04-19T09:02:51.038" v="6880"/>
          <ac:spMkLst>
            <pc:docMk/>
            <pc:sldMk cId="1652418690" sldId="3212"/>
            <ac:spMk id="95" creationId="{DF47B749-F180-795A-09D6-408CD90A071D}"/>
          </ac:spMkLst>
        </pc:spChg>
        <pc:spChg chg="mod">
          <ac:chgData name="Pierugo Pace" userId="2226acec-25d1-48aa-b467-65eac8578bef" providerId="ADAL" clId="{79ED0C4E-7D31-4904-9824-CD42FD471766}" dt="2024-04-19T09:02:51.038" v="6880"/>
          <ac:spMkLst>
            <pc:docMk/>
            <pc:sldMk cId="1652418690" sldId="3212"/>
            <ac:spMk id="97" creationId="{565377F9-172F-6652-CB23-1919E83E1DF5}"/>
          </ac:spMkLst>
        </pc:spChg>
        <pc:spChg chg="mod">
          <ac:chgData name="Pierugo Pace" userId="2226acec-25d1-48aa-b467-65eac8578bef" providerId="ADAL" clId="{79ED0C4E-7D31-4904-9824-CD42FD471766}" dt="2024-04-19T09:02:51.038" v="6880"/>
          <ac:spMkLst>
            <pc:docMk/>
            <pc:sldMk cId="1652418690" sldId="3212"/>
            <ac:spMk id="98" creationId="{07516868-398F-4DAA-701F-673C6506D31D}"/>
          </ac:spMkLst>
        </pc:spChg>
        <pc:spChg chg="mod">
          <ac:chgData name="Pierugo Pace" userId="2226acec-25d1-48aa-b467-65eac8578bef" providerId="ADAL" clId="{79ED0C4E-7D31-4904-9824-CD42FD471766}" dt="2024-04-19T09:02:51.038" v="6880"/>
          <ac:spMkLst>
            <pc:docMk/>
            <pc:sldMk cId="1652418690" sldId="3212"/>
            <ac:spMk id="100" creationId="{EF3B3B58-7E25-7BA1-BC4F-10E88CE79F8D}"/>
          </ac:spMkLst>
        </pc:spChg>
        <pc:spChg chg="mod">
          <ac:chgData name="Pierugo Pace" userId="2226acec-25d1-48aa-b467-65eac8578bef" providerId="ADAL" clId="{79ED0C4E-7D31-4904-9824-CD42FD471766}" dt="2024-04-19T09:02:51.038" v="6880"/>
          <ac:spMkLst>
            <pc:docMk/>
            <pc:sldMk cId="1652418690" sldId="3212"/>
            <ac:spMk id="101" creationId="{24667D23-3032-B6E1-712E-322BB393AC8D}"/>
          </ac:spMkLst>
        </pc:spChg>
        <pc:spChg chg="mod">
          <ac:chgData name="Pierugo Pace" userId="2226acec-25d1-48aa-b467-65eac8578bef" providerId="ADAL" clId="{79ED0C4E-7D31-4904-9824-CD42FD471766}" dt="2024-04-19T09:02:51.038" v="6880"/>
          <ac:spMkLst>
            <pc:docMk/>
            <pc:sldMk cId="1652418690" sldId="3212"/>
            <ac:spMk id="102" creationId="{39CD74E0-7A7B-5886-EC0D-DE5306B48685}"/>
          </ac:spMkLst>
        </pc:spChg>
        <pc:spChg chg="add del">
          <ac:chgData name="Pierugo Pace" userId="2226acec-25d1-48aa-b467-65eac8578bef" providerId="ADAL" clId="{79ED0C4E-7D31-4904-9824-CD42FD471766}" dt="2024-04-19T09:29:03.248" v="7338" actId="11529"/>
          <ac:spMkLst>
            <pc:docMk/>
            <pc:sldMk cId="1652418690" sldId="3212"/>
            <ac:spMk id="103" creationId="{5BB5183E-33EA-75BE-7D4C-7DED083C5973}"/>
          </ac:spMkLst>
        </pc:spChg>
        <pc:spChg chg="add mod">
          <ac:chgData name="Pierugo Pace" userId="2226acec-25d1-48aa-b467-65eac8578bef" providerId="ADAL" clId="{79ED0C4E-7D31-4904-9824-CD42FD471766}" dt="2024-04-19T09:32:38.007" v="7377"/>
          <ac:spMkLst>
            <pc:docMk/>
            <pc:sldMk cId="1652418690" sldId="3212"/>
            <ac:spMk id="104" creationId="{1960812E-21DB-8CB7-291A-D7DE49E5550C}"/>
          </ac:spMkLst>
        </pc:spChg>
        <pc:spChg chg="add mod">
          <ac:chgData name="Pierugo Pace" userId="2226acec-25d1-48aa-b467-65eac8578bef" providerId="ADAL" clId="{79ED0C4E-7D31-4904-9824-CD42FD471766}" dt="2024-04-19T09:32:54.657" v="7380" actId="208"/>
          <ac:spMkLst>
            <pc:docMk/>
            <pc:sldMk cId="1652418690" sldId="3212"/>
            <ac:spMk id="105" creationId="{FF9A39D8-46EA-0F55-03B6-381E0AEFF686}"/>
          </ac:spMkLst>
        </pc:spChg>
        <pc:spChg chg="add mod">
          <ac:chgData name="Pierugo Pace" userId="2226acec-25d1-48aa-b467-65eac8578bef" providerId="ADAL" clId="{79ED0C4E-7D31-4904-9824-CD42FD471766}" dt="2024-04-19T10:11:47.578" v="8206" actId="1076"/>
          <ac:spMkLst>
            <pc:docMk/>
            <pc:sldMk cId="1652418690" sldId="3212"/>
            <ac:spMk id="106" creationId="{BF855EF2-9AD3-999C-BBA1-9BAC29818EC9}"/>
          </ac:spMkLst>
        </pc:spChg>
        <pc:grpChg chg="add del mod">
          <ac:chgData name="Pierugo Pace" userId="2226acec-25d1-48aa-b467-65eac8578bef" providerId="ADAL" clId="{79ED0C4E-7D31-4904-9824-CD42FD471766}" dt="2024-04-19T07:23:52.532" v="5304" actId="165"/>
          <ac:grpSpMkLst>
            <pc:docMk/>
            <pc:sldMk cId="1652418690" sldId="3212"/>
            <ac:grpSpMk id="27" creationId="{69540F54-C11D-C9CF-B38C-EF9FF6B88B29}"/>
          </ac:grpSpMkLst>
        </pc:grpChg>
        <pc:grpChg chg="add del mod">
          <ac:chgData name="Pierugo Pace" userId="2226acec-25d1-48aa-b467-65eac8578bef" providerId="ADAL" clId="{79ED0C4E-7D31-4904-9824-CD42FD471766}" dt="2024-04-19T07:29:25.765" v="5338" actId="165"/>
          <ac:grpSpMkLst>
            <pc:docMk/>
            <pc:sldMk cId="1652418690" sldId="3212"/>
            <ac:grpSpMk id="29" creationId="{0A6288D5-E556-6F7D-A745-D4438E844B97}"/>
          </ac:grpSpMkLst>
        </pc:grpChg>
        <pc:grpChg chg="add del mod">
          <ac:chgData name="Pierugo Pace" userId="2226acec-25d1-48aa-b467-65eac8578bef" providerId="ADAL" clId="{79ED0C4E-7D31-4904-9824-CD42FD471766}" dt="2024-04-19T07:26:19.421" v="5311" actId="165"/>
          <ac:grpSpMkLst>
            <pc:docMk/>
            <pc:sldMk cId="1652418690" sldId="3212"/>
            <ac:grpSpMk id="30" creationId="{FF6775F4-F8DF-0214-A7A4-9C8B5222100A}"/>
          </ac:grpSpMkLst>
        </pc:grpChg>
        <pc:grpChg chg="add del mod">
          <ac:chgData name="Pierugo Pace" userId="2226acec-25d1-48aa-b467-65eac8578bef" providerId="ADAL" clId="{79ED0C4E-7D31-4904-9824-CD42FD471766}" dt="2024-04-19T07:58:54.520" v="5800" actId="165"/>
          <ac:grpSpMkLst>
            <pc:docMk/>
            <pc:sldMk cId="1652418690" sldId="3212"/>
            <ac:grpSpMk id="34" creationId="{65654C0F-52D8-1BB9-79FE-208D8C7B890E}"/>
          </ac:grpSpMkLst>
        </pc:grpChg>
        <pc:grpChg chg="add del mod">
          <ac:chgData name="Pierugo Pace" userId="2226acec-25d1-48aa-b467-65eac8578bef" providerId="ADAL" clId="{79ED0C4E-7D31-4904-9824-CD42FD471766}" dt="2024-04-19T08:57:42.583" v="6810" actId="165"/>
          <ac:grpSpMkLst>
            <pc:docMk/>
            <pc:sldMk cId="1652418690" sldId="3212"/>
            <ac:grpSpMk id="35" creationId="{6E9FA3B4-A15B-0D51-E0AD-AD1CB0A3F3D1}"/>
          </ac:grpSpMkLst>
        </pc:grpChg>
        <pc:grpChg chg="add mod">
          <ac:chgData name="Pierugo Pace" userId="2226acec-25d1-48aa-b467-65eac8578bef" providerId="ADAL" clId="{79ED0C4E-7D31-4904-9824-CD42FD471766}" dt="2024-04-19T07:38:36.266" v="5467" actId="571"/>
          <ac:grpSpMkLst>
            <pc:docMk/>
            <pc:sldMk cId="1652418690" sldId="3212"/>
            <ac:grpSpMk id="36" creationId="{98906650-4A39-1AD1-E994-D10077A19BA3}"/>
          </ac:grpSpMkLst>
        </pc:grpChg>
        <pc:grpChg chg="add mod">
          <ac:chgData name="Pierugo Pace" userId="2226acec-25d1-48aa-b467-65eac8578bef" providerId="ADAL" clId="{79ED0C4E-7D31-4904-9824-CD42FD471766}" dt="2024-04-19T07:38:36.266" v="5467" actId="571"/>
          <ac:grpSpMkLst>
            <pc:docMk/>
            <pc:sldMk cId="1652418690" sldId="3212"/>
            <ac:grpSpMk id="40" creationId="{7A3783FC-B1E9-46BD-9392-0EB11140EC3A}"/>
          </ac:grpSpMkLst>
        </pc:grpChg>
        <pc:grpChg chg="add del mod">
          <ac:chgData name="Pierugo Pace" userId="2226acec-25d1-48aa-b467-65eac8578bef" providerId="ADAL" clId="{79ED0C4E-7D31-4904-9824-CD42FD471766}" dt="2024-04-19T08:21:09.710" v="6180" actId="165"/>
          <ac:grpSpMkLst>
            <pc:docMk/>
            <pc:sldMk cId="1652418690" sldId="3212"/>
            <ac:grpSpMk id="50" creationId="{B4086317-6184-7BE4-6E51-598BB9E12BF9}"/>
          </ac:grpSpMkLst>
        </pc:grpChg>
        <pc:grpChg chg="add del mod">
          <ac:chgData name="Pierugo Pace" userId="2226acec-25d1-48aa-b467-65eac8578bef" providerId="ADAL" clId="{79ED0C4E-7D31-4904-9824-CD42FD471766}" dt="2024-04-19T08:04:19.293" v="5857" actId="165"/>
          <ac:grpSpMkLst>
            <pc:docMk/>
            <pc:sldMk cId="1652418690" sldId="3212"/>
            <ac:grpSpMk id="58" creationId="{BF18E21C-210C-55F7-B87E-80FBFB8482CE}"/>
          </ac:grpSpMkLst>
        </pc:grpChg>
        <pc:grpChg chg="add del mod">
          <ac:chgData name="Pierugo Pace" userId="2226acec-25d1-48aa-b467-65eac8578bef" providerId="ADAL" clId="{79ED0C4E-7D31-4904-9824-CD42FD471766}" dt="2024-04-19T08:17:35.192" v="6136" actId="165"/>
          <ac:grpSpMkLst>
            <pc:docMk/>
            <pc:sldMk cId="1652418690" sldId="3212"/>
            <ac:grpSpMk id="61" creationId="{F933F146-39A1-69A4-8127-7C0CB1A909F6}"/>
          </ac:grpSpMkLst>
        </pc:grpChg>
        <pc:grpChg chg="add del mod">
          <ac:chgData name="Pierugo Pace" userId="2226acec-25d1-48aa-b467-65eac8578bef" providerId="ADAL" clId="{79ED0C4E-7D31-4904-9824-CD42FD471766}" dt="2024-04-19T09:02:43.469" v="6878" actId="478"/>
          <ac:grpSpMkLst>
            <pc:docMk/>
            <pc:sldMk cId="1652418690" sldId="3212"/>
            <ac:grpSpMk id="62" creationId="{B93625C5-B7B2-98EC-0BA1-C9C888F0D2D3}"/>
          </ac:grpSpMkLst>
        </pc:grpChg>
        <pc:grpChg chg="add mod">
          <ac:chgData name="Pierugo Pace" userId="2226acec-25d1-48aa-b467-65eac8578bef" providerId="ADAL" clId="{79ED0C4E-7D31-4904-9824-CD42FD471766}" dt="2024-04-19T08:13:10.840" v="6030" actId="571"/>
          <ac:grpSpMkLst>
            <pc:docMk/>
            <pc:sldMk cId="1652418690" sldId="3212"/>
            <ac:grpSpMk id="69" creationId="{3F5C86A0-ECAC-75C3-830A-00FC7E5C361A}"/>
          </ac:grpSpMkLst>
        </pc:grpChg>
        <pc:grpChg chg="add mod">
          <ac:chgData name="Pierugo Pace" userId="2226acec-25d1-48aa-b467-65eac8578bef" providerId="ADAL" clId="{79ED0C4E-7D31-4904-9824-CD42FD471766}" dt="2024-04-19T08:13:10.840" v="6030" actId="571"/>
          <ac:grpSpMkLst>
            <pc:docMk/>
            <pc:sldMk cId="1652418690" sldId="3212"/>
            <ac:grpSpMk id="73" creationId="{FBF2DAC9-A798-CA97-339F-A607507125BA}"/>
          </ac:grpSpMkLst>
        </pc:grpChg>
        <pc:grpChg chg="add mod">
          <ac:chgData name="Pierugo Pace" userId="2226acec-25d1-48aa-b467-65eac8578bef" providerId="ADAL" clId="{79ED0C4E-7D31-4904-9824-CD42FD471766}" dt="2024-04-19T08:13:10.840" v="6030" actId="571"/>
          <ac:grpSpMkLst>
            <pc:docMk/>
            <pc:sldMk cId="1652418690" sldId="3212"/>
            <ac:grpSpMk id="76" creationId="{495B383E-F7BD-0649-9D4E-6F0EF8DC4E84}"/>
          </ac:grpSpMkLst>
        </pc:grpChg>
        <pc:grpChg chg="add mod">
          <ac:chgData name="Pierugo Pace" userId="2226acec-25d1-48aa-b467-65eac8578bef" providerId="ADAL" clId="{79ED0C4E-7D31-4904-9824-CD42FD471766}" dt="2024-04-19T08:13:10.840" v="6030" actId="571"/>
          <ac:grpSpMkLst>
            <pc:docMk/>
            <pc:sldMk cId="1652418690" sldId="3212"/>
            <ac:grpSpMk id="79" creationId="{18B520A6-A512-999E-A45B-AAA16B0FE6C8}"/>
          </ac:grpSpMkLst>
        </pc:grpChg>
        <pc:grpChg chg="add del mod">
          <ac:chgData name="Pierugo Pace" userId="2226acec-25d1-48aa-b467-65eac8578bef" providerId="ADAL" clId="{79ED0C4E-7D31-4904-9824-CD42FD471766}" dt="2024-04-19T09:02:43.469" v="6878" actId="478"/>
          <ac:grpSpMkLst>
            <pc:docMk/>
            <pc:sldMk cId="1652418690" sldId="3212"/>
            <ac:grpSpMk id="86" creationId="{F2C04957-2EAF-7987-4F6F-976F33193B82}"/>
          </ac:grpSpMkLst>
        </pc:grpChg>
        <pc:grpChg chg="add mod">
          <ac:chgData name="Pierugo Pace" userId="2226acec-25d1-48aa-b467-65eac8578bef" providerId="ADAL" clId="{79ED0C4E-7D31-4904-9824-CD42FD471766}" dt="2024-04-19T08:21:20.274" v="6184" actId="164"/>
          <ac:grpSpMkLst>
            <pc:docMk/>
            <pc:sldMk cId="1652418690" sldId="3212"/>
            <ac:grpSpMk id="87" creationId="{25D7AD94-EA41-836F-CF56-14CC03C40EF5}"/>
          </ac:grpSpMkLst>
        </pc:grpChg>
        <pc:grpChg chg="add mod">
          <ac:chgData name="Pierugo Pace" userId="2226acec-25d1-48aa-b467-65eac8578bef" providerId="ADAL" clId="{79ED0C4E-7D31-4904-9824-CD42FD471766}" dt="2024-04-19T09:28:20.014" v="7336"/>
          <ac:grpSpMkLst>
            <pc:docMk/>
            <pc:sldMk cId="1652418690" sldId="3212"/>
            <ac:grpSpMk id="90" creationId="{B061E872-9E15-78E1-0F4A-BE06BB9DE5E5}"/>
          </ac:grpSpMkLst>
        </pc:grpChg>
        <pc:grpChg chg="add mod">
          <ac:chgData name="Pierugo Pace" userId="2226acec-25d1-48aa-b467-65eac8578bef" providerId="ADAL" clId="{79ED0C4E-7D31-4904-9824-CD42FD471766}" dt="2024-04-19T09:16:06.100" v="7144" actId="1076"/>
          <ac:grpSpMkLst>
            <pc:docMk/>
            <pc:sldMk cId="1652418690" sldId="3212"/>
            <ac:grpSpMk id="93" creationId="{759E51FE-FCBC-27FF-FB49-7E3BE4629A60}"/>
          </ac:grpSpMkLst>
        </pc:grpChg>
        <pc:grpChg chg="add mod">
          <ac:chgData name="Pierugo Pace" userId="2226acec-25d1-48aa-b467-65eac8578bef" providerId="ADAL" clId="{79ED0C4E-7D31-4904-9824-CD42FD471766}" dt="2024-04-19T09:16:06.100" v="7144" actId="1076"/>
          <ac:grpSpMkLst>
            <pc:docMk/>
            <pc:sldMk cId="1652418690" sldId="3212"/>
            <ac:grpSpMk id="96" creationId="{DDEECA72-6611-FC0D-818D-2E2BD6786C77}"/>
          </ac:grpSpMkLst>
        </pc:grpChg>
        <pc:grpChg chg="add mod">
          <ac:chgData name="Pierugo Pace" userId="2226acec-25d1-48aa-b467-65eac8578bef" providerId="ADAL" clId="{79ED0C4E-7D31-4904-9824-CD42FD471766}" dt="2024-04-19T09:16:06.100" v="7144" actId="1076"/>
          <ac:grpSpMkLst>
            <pc:docMk/>
            <pc:sldMk cId="1652418690" sldId="3212"/>
            <ac:grpSpMk id="99" creationId="{B2BFE53B-0559-B3D9-B842-2D2AA1915A13}"/>
          </ac:grpSpMkLst>
        </pc:grpChg>
        <pc:picChg chg="add del mod">
          <ac:chgData name="Pierugo Pace" userId="2226acec-25d1-48aa-b467-65eac8578bef" providerId="ADAL" clId="{79ED0C4E-7D31-4904-9824-CD42FD471766}" dt="2024-04-19T07:08:39.730" v="4943" actId="478"/>
          <ac:picMkLst>
            <pc:docMk/>
            <pc:sldMk cId="1652418690" sldId="3212"/>
            <ac:picMk id="6" creationId="{618526B2-B2BA-680A-FDDE-D522ABF85975}"/>
          </ac:picMkLst>
        </pc:picChg>
        <pc:picChg chg="add mod">
          <ac:chgData name="Pierugo Pace" userId="2226acec-25d1-48aa-b467-65eac8578bef" providerId="ADAL" clId="{79ED0C4E-7D31-4904-9824-CD42FD471766}" dt="2024-04-19T09:16:06.100" v="7144" actId="1076"/>
          <ac:picMkLst>
            <pc:docMk/>
            <pc:sldMk cId="1652418690" sldId="3212"/>
            <ac:picMk id="8" creationId="{D7E08ABB-385F-C5CA-39D0-93E090B72348}"/>
          </ac:picMkLst>
        </pc:picChg>
        <pc:picChg chg="add del mod">
          <ac:chgData name="Pierugo Pace" userId="2226acec-25d1-48aa-b467-65eac8578bef" providerId="ADAL" clId="{79ED0C4E-7D31-4904-9824-CD42FD471766}" dt="2024-04-19T07:08:37.690" v="4941" actId="478"/>
          <ac:picMkLst>
            <pc:docMk/>
            <pc:sldMk cId="1652418690" sldId="3212"/>
            <ac:picMk id="10" creationId="{2CD156B9-9D8B-698A-7E49-E9672ECE96CE}"/>
          </ac:picMkLst>
        </pc:picChg>
        <pc:picChg chg="add mod">
          <ac:chgData name="Pierugo Pace" userId="2226acec-25d1-48aa-b467-65eac8578bef" providerId="ADAL" clId="{79ED0C4E-7D31-4904-9824-CD42FD471766}" dt="2024-04-19T09:16:06.100" v="7144" actId="1076"/>
          <ac:picMkLst>
            <pc:docMk/>
            <pc:sldMk cId="1652418690" sldId="3212"/>
            <ac:picMk id="12" creationId="{804F013E-9331-4290-61CA-EE8C3C453EBB}"/>
          </ac:picMkLst>
        </pc:picChg>
        <pc:picChg chg="add mod">
          <ac:chgData name="Pierugo Pace" userId="2226acec-25d1-48aa-b467-65eac8578bef" providerId="ADAL" clId="{79ED0C4E-7D31-4904-9824-CD42FD471766}" dt="2024-04-19T08:13:10.840" v="6030" actId="571"/>
          <ac:picMkLst>
            <pc:docMk/>
            <pc:sldMk cId="1652418690" sldId="3212"/>
            <ac:picMk id="65" creationId="{A642F929-A84F-B8EF-F72C-E7934241E9C9}"/>
          </ac:picMkLst>
        </pc:picChg>
        <pc:picChg chg="add mod">
          <ac:chgData name="Pierugo Pace" userId="2226acec-25d1-48aa-b467-65eac8578bef" providerId="ADAL" clId="{79ED0C4E-7D31-4904-9824-CD42FD471766}" dt="2024-04-19T08:13:10.840" v="6030" actId="571"/>
          <ac:picMkLst>
            <pc:docMk/>
            <pc:sldMk cId="1652418690" sldId="3212"/>
            <ac:picMk id="66" creationId="{B1884424-595E-1332-FD21-86B108A44486}"/>
          </ac:picMkLst>
        </pc:picChg>
        <pc:cxnChg chg="add del mod">
          <ac:chgData name="Pierugo Pace" userId="2226acec-25d1-48aa-b467-65eac8578bef" providerId="ADAL" clId="{79ED0C4E-7D31-4904-9824-CD42FD471766}" dt="2024-04-22T06:34:07.395" v="11358" actId="11529"/>
          <ac:cxnSpMkLst>
            <pc:docMk/>
            <pc:sldMk cId="1652418690" sldId="3212"/>
            <ac:cxnSpMk id="6" creationId="{2D71941B-75F7-C8B6-B406-6BE424F94156}"/>
          </ac:cxnSpMkLst>
        </pc:cxnChg>
        <pc:cxnChg chg="add mod">
          <ac:chgData name="Pierugo Pace" userId="2226acec-25d1-48aa-b467-65eac8578bef" providerId="ADAL" clId="{79ED0C4E-7D31-4904-9824-CD42FD471766}" dt="2024-04-19T09:16:06.100" v="7144" actId="1076"/>
          <ac:cxnSpMkLst>
            <pc:docMk/>
            <pc:sldMk cId="1652418690" sldId="3212"/>
            <ac:cxnSpMk id="17" creationId="{0C4A710F-A2D0-C7DB-38B5-A4FA00398C6E}"/>
          </ac:cxnSpMkLst>
        </pc:cxnChg>
        <pc:cxnChg chg="add mod">
          <ac:chgData name="Pierugo Pace" userId="2226acec-25d1-48aa-b467-65eac8578bef" providerId="ADAL" clId="{79ED0C4E-7D31-4904-9824-CD42FD471766}" dt="2024-04-19T09:16:06.100" v="7144" actId="1076"/>
          <ac:cxnSpMkLst>
            <pc:docMk/>
            <pc:sldMk cId="1652418690" sldId="3212"/>
            <ac:cxnSpMk id="21" creationId="{CD34B921-F36D-5667-2A24-F85700D12F68}"/>
          </ac:cxnSpMkLst>
        </pc:cxnChg>
        <pc:cxnChg chg="add mod topLvl">
          <ac:chgData name="Pierugo Pace" userId="2226acec-25d1-48aa-b467-65eac8578bef" providerId="ADAL" clId="{79ED0C4E-7D31-4904-9824-CD42FD471766}" dt="2024-04-19T09:28:20.014" v="7336"/>
          <ac:cxnSpMkLst>
            <pc:docMk/>
            <pc:sldMk cId="1652418690" sldId="3212"/>
            <ac:cxnSpMk id="23" creationId="{767EA9DA-8AB9-44D2-F30B-3A7A9B48FFB3}"/>
          </ac:cxnSpMkLst>
        </pc:cxnChg>
        <pc:cxnChg chg="add mod topLvl">
          <ac:chgData name="Pierugo Pace" userId="2226acec-25d1-48aa-b467-65eac8578bef" providerId="ADAL" clId="{79ED0C4E-7D31-4904-9824-CD42FD471766}" dt="2024-04-19T08:06:33.103" v="5923" actId="164"/>
          <ac:cxnSpMkLst>
            <pc:docMk/>
            <pc:sldMk cId="1652418690" sldId="3212"/>
            <ac:cxnSpMk id="24" creationId="{EDF68DB4-3A43-76A8-294D-8226982647EE}"/>
          </ac:cxnSpMkLst>
        </pc:cxnChg>
        <pc:cxnChg chg="mod">
          <ac:chgData name="Pierugo Pace" userId="2226acec-25d1-48aa-b467-65eac8578bef" providerId="ADAL" clId="{79ED0C4E-7D31-4904-9824-CD42FD471766}" dt="2024-04-19T07:38:36.266" v="5467" actId="571"/>
          <ac:cxnSpMkLst>
            <pc:docMk/>
            <pc:sldMk cId="1652418690" sldId="3212"/>
            <ac:cxnSpMk id="37" creationId="{34EC19E0-3F02-3994-101F-5AE06C840E3C}"/>
          </ac:cxnSpMkLst>
        </pc:cxnChg>
        <pc:cxnChg chg="mod">
          <ac:chgData name="Pierugo Pace" userId="2226acec-25d1-48aa-b467-65eac8578bef" providerId="ADAL" clId="{79ED0C4E-7D31-4904-9824-CD42FD471766}" dt="2024-04-19T07:38:36.266" v="5467" actId="571"/>
          <ac:cxnSpMkLst>
            <pc:docMk/>
            <pc:sldMk cId="1652418690" sldId="3212"/>
            <ac:cxnSpMk id="41" creationId="{CF05E694-E7BF-942F-1839-1FEF03C37A2C}"/>
          </ac:cxnSpMkLst>
        </pc:cxnChg>
        <pc:cxnChg chg="add mod">
          <ac:chgData name="Pierugo Pace" userId="2226acec-25d1-48aa-b467-65eac8578bef" providerId="ADAL" clId="{79ED0C4E-7D31-4904-9824-CD42FD471766}" dt="2024-04-19T07:58:56.980" v="5801"/>
          <ac:cxnSpMkLst>
            <pc:docMk/>
            <pc:sldMk cId="1652418690" sldId="3212"/>
            <ac:cxnSpMk id="51" creationId="{8B84C12F-6F6F-3046-3E07-49371964ABFA}"/>
          </ac:cxnSpMkLst>
        </pc:cxnChg>
        <pc:cxnChg chg="add mod">
          <ac:chgData name="Pierugo Pace" userId="2226acec-25d1-48aa-b467-65eac8578bef" providerId="ADAL" clId="{79ED0C4E-7D31-4904-9824-CD42FD471766}" dt="2024-04-19T08:13:10.840" v="6030" actId="571"/>
          <ac:cxnSpMkLst>
            <pc:docMk/>
            <pc:sldMk cId="1652418690" sldId="3212"/>
            <ac:cxnSpMk id="67" creationId="{276A7047-B862-217C-5FAB-4B8C9D79F273}"/>
          </ac:cxnSpMkLst>
        </pc:cxnChg>
        <pc:cxnChg chg="add mod">
          <ac:chgData name="Pierugo Pace" userId="2226acec-25d1-48aa-b467-65eac8578bef" providerId="ADAL" clId="{79ED0C4E-7D31-4904-9824-CD42FD471766}" dt="2024-04-19T08:13:10.840" v="6030" actId="571"/>
          <ac:cxnSpMkLst>
            <pc:docMk/>
            <pc:sldMk cId="1652418690" sldId="3212"/>
            <ac:cxnSpMk id="68" creationId="{6B56C97A-7D51-0738-01A0-55D45D9C52C4}"/>
          </ac:cxnSpMkLst>
        </pc:cxnChg>
        <pc:cxnChg chg="mod">
          <ac:chgData name="Pierugo Pace" userId="2226acec-25d1-48aa-b467-65eac8578bef" providerId="ADAL" clId="{79ED0C4E-7D31-4904-9824-CD42FD471766}" dt="2024-04-19T08:13:10.840" v="6030" actId="571"/>
          <ac:cxnSpMkLst>
            <pc:docMk/>
            <pc:sldMk cId="1652418690" sldId="3212"/>
            <ac:cxnSpMk id="70" creationId="{FE44307C-CC42-B597-9A58-A851FB5AEB9D}"/>
          </ac:cxnSpMkLst>
        </pc:cxnChg>
        <pc:cxnChg chg="mod">
          <ac:chgData name="Pierugo Pace" userId="2226acec-25d1-48aa-b467-65eac8578bef" providerId="ADAL" clId="{79ED0C4E-7D31-4904-9824-CD42FD471766}" dt="2024-04-19T08:13:10.840" v="6030" actId="571"/>
          <ac:cxnSpMkLst>
            <pc:docMk/>
            <pc:sldMk cId="1652418690" sldId="3212"/>
            <ac:cxnSpMk id="74" creationId="{157D24F4-8E09-7310-D081-93161E609AE4}"/>
          </ac:cxnSpMkLst>
        </pc:cxnChg>
        <pc:cxnChg chg="mod">
          <ac:chgData name="Pierugo Pace" userId="2226acec-25d1-48aa-b467-65eac8578bef" providerId="ADAL" clId="{79ED0C4E-7D31-4904-9824-CD42FD471766}" dt="2024-04-19T09:02:51.038" v="6880"/>
          <ac:cxnSpMkLst>
            <pc:docMk/>
            <pc:sldMk cId="1652418690" sldId="3212"/>
            <ac:cxnSpMk id="94" creationId="{8EE33BAC-5E9A-34D4-B76E-B93567291398}"/>
          </ac:cxnSpMkLst>
        </pc:cxnChg>
      </pc:sldChg>
      <pc:sldChg chg="del">
        <pc:chgData name="Pierugo Pace" userId="2226acec-25d1-48aa-b467-65eac8578bef" providerId="ADAL" clId="{79ED0C4E-7D31-4904-9824-CD42FD471766}" dt="2024-04-19T08:09:01.693" v="5943" actId="47"/>
        <pc:sldMkLst>
          <pc:docMk/>
          <pc:sldMk cId="430977394" sldId="3213"/>
        </pc:sldMkLst>
      </pc:sldChg>
      <pc:sldChg chg="addSp modSp del mod modAnim modNotesTx">
        <pc:chgData name="Pierugo Pace" userId="2226acec-25d1-48aa-b467-65eac8578bef" providerId="ADAL" clId="{79ED0C4E-7D31-4904-9824-CD42FD471766}" dt="2024-04-19T15:34:43.503" v="10617" actId="47"/>
        <pc:sldMkLst>
          <pc:docMk/>
          <pc:sldMk cId="1556872820" sldId="3216"/>
        </pc:sldMkLst>
        <pc:spChg chg="mod">
          <ac:chgData name="Pierugo Pace" userId="2226acec-25d1-48aa-b467-65eac8578bef" providerId="ADAL" clId="{79ED0C4E-7D31-4904-9824-CD42FD471766}" dt="2024-04-19T15:30:53.220" v="10509" actId="14100"/>
          <ac:spMkLst>
            <pc:docMk/>
            <pc:sldMk cId="1556872820" sldId="3216"/>
            <ac:spMk id="3" creationId="{8DC4B8A9-87F5-3C46-8C8C-5B396166EEC8}"/>
          </ac:spMkLst>
        </pc:spChg>
        <pc:spChg chg="mod">
          <ac:chgData name="Pierugo Pace" userId="2226acec-25d1-48aa-b467-65eac8578bef" providerId="ADAL" clId="{79ED0C4E-7D31-4904-9824-CD42FD471766}" dt="2024-04-18T13:48:41.865" v="3429"/>
          <ac:spMkLst>
            <pc:docMk/>
            <pc:sldMk cId="1556872820" sldId="3216"/>
            <ac:spMk id="6" creationId="{00000000-0000-0000-0000-000000000000}"/>
          </ac:spMkLst>
        </pc:spChg>
        <pc:spChg chg="add mod">
          <ac:chgData name="Pierugo Pace" userId="2226acec-25d1-48aa-b467-65eac8578bef" providerId="ADAL" clId="{79ED0C4E-7D31-4904-9824-CD42FD471766}" dt="2024-04-19T15:30:45.705" v="10507"/>
          <ac:spMkLst>
            <pc:docMk/>
            <pc:sldMk cId="1556872820" sldId="3216"/>
            <ac:spMk id="8" creationId="{7845072D-DA36-3E65-C616-24DBAC6ED038}"/>
          </ac:spMkLst>
        </pc:spChg>
        <pc:picChg chg="add mod">
          <ac:chgData name="Pierugo Pace" userId="2226acec-25d1-48aa-b467-65eac8578bef" providerId="ADAL" clId="{79ED0C4E-7D31-4904-9824-CD42FD471766}" dt="2024-04-19T15:30:28.398" v="10504"/>
          <ac:picMkLst>
            <pc:docMk/>
            <pc:sldMk cId="1556872820" sldId="3216"/>
            <ac:picMk id="2" creationId="{7654B420-A808-D0DF-9668-6E89582A9091}"/>
          </ac:picMkLst>
        </pc:picChg>
        <pc:picChg chg="add mod">
          <ac:chgData name="Pierugo Pace" userId="2226acec-25d1-48aa-b467-65eac8578bef" providerId="ADAL" clId="{79ED0C4E-7D31-4904-9824-CD42FD471766}" dt="2024-04-19T15:30:36.261" v="10505"/>
          <ac:picMkLst>
            <pc:docMk/>
            <pc:sldMk cId="1556872820" sldId="3216"/>
            <ac:picMk id="7" creationId="{4786687A-2684-1D8F-BF61-816CD40F5C1A}"/>
          </ac:picMkLst>
        </pc:picChg>
      </pc:sldChg>
      <pc:sldChg chg="addSp delSp modSp mod modAnim modNotesTx">
        <pc:chgData name="Pierugo Pace" userId="2226acec-25d1-48aa-b467-65eac8578bef" providerId="ADAL" clId="{79ED0C4E-7D31-4904-9824-CD42FD471766}" dt="2024-04-22T09:23:47.520" v="11996" actId="208"/>
        <pc:sldMkLst>
          <pc:docMk/>
          <pc:sldMk cId="281399200" sldId="3217"/>
        </pc:sldMkLst>
        <pc:spChg chg="add del mod topLvl">
          <ac:chgData name="Pierugo Pace" userId="2226acec-25d1-48aa-b467-65eac8578bef" providerId="ADAL" clId="{79ED0C4E-7D31-4904-9824-CD42FD471766}" dt="2024-04-18T15:25:36.558" v="3636" actId="478"/>
          <ac:spMkLst>
            <pc:docMk/>
            <pc:sldMk cId="281399200" sldId="3217"/>
            <ac:spMk id="2" creationId="{775B0E59-9E8F-7552-F81D-54BFB2564432}"/>
          </ac:spMkLst>
        </pc:spChg>
        <pc:spChg chg="mod">
          <ac:chgData name="Pierugo Pace" userId="2226acec-25d1-48aa-b467-65eac8578bef" providerId="ADAL" clId="{79ED0C4E-7D31-4904-9824-CD42FD471766}" dt="2024-04-18T15:28:32.436" v="3694" actId="207"/>
          <ac:spMkLst>
            <pc:docMk/>
            <pc:sldMk cId="281399200" sldId="3217"/>
            <ac:spMk id="5" creationId="{EC1D3909-932D-1C4E-9F8F-1E77B13BBB30}"/>
          </ac:spMkLst>
        </pc:spChg>
        <pc:spChg chg="add mod topLvl">
          <ac:chgData name="Pierugo Pace" userId="2226acec-25d1-48aa-b467-65eac8578bef" providerId="ADAL" clId="{79ED0C4E-7D31-4904-9824-CD42FD471766}" dt="2024-04-19T10:22:31.435" v="8305" actId="165"/>
          <ac:spMkLst>
            <pc:docMk/>
            <pc:sldMk cId="281399200" sldId="3217"/>
            <ac:spMk id="7" creationId="{D1E0001C-9AA9-9560-1D57-203F3A255B0A}"/>
          </ac:spMkLst>
        </pc:spChg>
        <pc:spChg chg="add mod topLvl">
          <ac:chgData name="Pierugo Pace" userId="2226acec-25d1-48aa-b467-65eac8578bef" providerId="ADAL" clId="{79ED0C4E-7D31-4904-9824-CD42FD471766}" dt="2024-04-19T10:22:31.435" v="8305" actId="165"/>
          <ac:spMkLst>
            <pc:docMk/>
            <pc:sldMk cId="281399200" sldId="3217"/>
            <ac:spMk id="8" creationId="{C565A57D-AF93-C66F-09D8-F6A35E695D64}"/>
          </ac:spMkLst>
        </pc:spChg>
        <pc:spChg chg="add mod topLvl">
          <ac:chgData name="Pierugo Pace" userId="2226acec-25d1-48aa-b467-65eac8578bef" providerId="ADAL" clId="{79ED0C4E-7D31-4904-9824-CD42FD471766}" dt="2024-04-19T10:22:31.435" v="8305" actId="165"/>
          <ac:spMkLst>
            <pc:docMk/>
            <pc:sldMk cId="281399200" sldId="3217"/>
            <ac:spMk id="9" creationId="{C035EE60-5929-A688-8269-77DEAB7C1CC8}"/>
          </ac:spMkLst>
        </pc:spChg>
        <pc:spChg chg="mod">
          <ac:chgData name="Pierugo Pace" userId="2226acec-25d1-48aa-b467-65eac8578bef" providerId="ADAL" clId="{79ED0C4E-7D31-4904-9824-CD42FD471766}" dt="2024-04-18T15:28:41.081" v="3695" actId="14100"/>
          <ac:spMkLst>
            <pc:docMk/>
            <pc:sldMk cId="281399200" sldId="3217"/>
            <ac:spMk id="10" creationId="{00000000-0000-0000-0000-000000000000}"/>
          </ac:spMkLst>
        </pc:spChg>
        <pc:spChg chg="mod">
          <ac:chgData name="Pierugo Pace" userId="2226acec-25d1-48aa-b467-65eac8578bef" providerId="ADAL" clId="{79ED0C4E-7D31-4904-9824-CD42FD471766}" dt="2024-04-18T15:28:55.748" v="3696" actId="1076"/>
          <ac:spMkLst>
            <pc:docMk/>
            <pc:sldMk cId="281399200" sldId="3217"/>
            <ac:spMk id="11" creationId="{00000000-0000-0000-0000-000000000000}"/>
          </ac:spMkLst>
        </pc:spChg>
        <pc:spChg chg="mod">
          <ac:chgData name="Pierugo Pace" userId="2226acec-25d1-48aa-b467-65eac8578bef" providerId="ADAL" clId="{79ED0C4E-7D31-4904-9824-CD42FD471766}" dt="2024-04-18T15:42:05.133" v="3955" actId="20577"/>
          <ac:spMkLst>
            <pc:docMk/>
            <pc:sldMk cId="281399200" sldId="3217"/>
            <ac:spMk id="12" creationId="{00000000-0000-0000-0000-000000000000}"/>
          </ac:spMkLst>
        </pc:spChg>
        <pc:spChg chg="mod">
          <ac:chgData name="Pierugo Pace" userId="2226acec-25d1-48aa-b467-65eac8578bef" providerId="ADAL" clId="{79ED0C4E-7D31-4904-9824-CD42FD471766}" dt="2024-04-18T13:28:11.280" v="3375" actId="20577"/>
          <ac:spMkLst>
            <pc:docMk/>
            <pc:sldMk cId="281399200" sldId="3217"/>
            <ac:spMk id="13" creationId="{00000000-0000-0000-0000-000000000000}"/>
          </ac:spMkLst>
        </pc:spChg>
        <pc:spChg chg="mod">
          <ac:chgData name="Pierugo Pace" userId="2226acec-25d1-48aa-b467-65eac8578bef" providerId="ADAL" clId="{79ED0C4E-7D31-4904-9824-CD42FD471766}" dt="2024-04-22T09:23:33.678" v="11994" actId="207"/>
          <ac:spMkLst>
            <pc:docMk/>
            <pc:sldMk cId="281399200" sldId="3217"/>
            <ac:spMk id="14" creationId="{00000000-0000-0000-0000-000000000000}"/>
          </ac:spMkLst>
        </pc:spChg>
        <pc:spChg chg="mod">
          <ac:chgData name="Pierugo Pace" userId="2226acec-25d1-48aa-b467-65eac8578bef" providerId="ADAL" clId="{79ED0C4E-7D31-4904-9824-CD42FD471766}" dt="2024-04-18T15:29:09.699" v="3697" actId="1076"/>
          <ac:spMkLst>
            <pc:docMk/>
            <pc:sldMk cId="281399200" sldId="3217"/>
            <ac:spMk id="15" creationId="{00000000-0000-0000-0000-000000000000}"/>
          </ac:spMkLst>
        </pc:spChg>
        <pc:spChg chg="add mod topLvl">
          <ac:chgData name="Pierugo Pace" userId="2226acec-25d1-48aa-b467-65eac8578bef" providerId="ADAL" clId="{79ED0C4E-7D31-4904-9824-CD42FD471766}" dt="2024-04-22T09:23:47.520" v="11996" actId="208"/>
          <ac:spMkLst>
            <pc:docMk/>
            <pc:sldMk cId="281399200" sldId="3217"/>
            <ac:spMk id="16" creationId="{63DF8344-B0A7-36DF-9786-191003C43221}"/>
          </ac:spMkLst>
        </pc:spChg>
        <pc:spChg chg="mod">
          <ac:chgData name="Pierugo Pace" userId="2226acec-25d1-48aa-b467-65eac8578bef" providerId="ADAL" clId="{79ED0C4E-7D31-4904-9824-CD42FD471766}" dt="2024-04-21T09:24:01.397" v="10747"/>
          <ac:spMkLst>
            <pc:docMk/>
            <pc:sldMk cId="281399200" sldId="3217"/>
            <ac:spMk id="17" creationId="{ED2BB527-539C-3D55-894D-864925C18497}"/>
          </ac:spMkLst>
        </pc:spChg>
        <pc:spChg chg="mod topLvl">
          <ac:chgData name="Pierugo Pace" userId="2226acec-25d1-48aa-b467-65eac8578bef" providerId="ADAL" clId="{79ED0C4E-7D31-4904-9824-CD42FD471766}" dt="2024-04-19T10:22:31.435" v="8305" actId="165"/>
          <ac:spMkLst>
            <pc:docMk/>
            <pc:sldMk cId="281399200" sldId="3217"/>
            <ac:spMk id="21" creationId="{00000000-0000-0000-0000-000000000000}"/>
          </ac:spMkLst>
        </pc:spChg>
        <pc:spChg chg="del mod topLvl">
          <ac:chgData name="Pierugo Pace" userId="2226acec-25d1-48aa-b467-65eac8578bef" providerId="ADAL" clId="{79ED0C4E-7D31-4904-9824-CD42FD471766}" dt="2024-04-18T15:25:35.132" v="3635" actId="478"/>
          <ac:spMkLst>
            <pc:docMk/>
            <pc:sldMk cId="281399200" sldId="3217"/>
            <ac:spMk id="26" creationId="{00000000-0000-0000-0000-000000000000}"/>
          </ac:spMkLst>
        </pc:spChg>
        <pc:grpChg chg="add mod">
          <ac:chgData name="Pierugo Pace" userId="2226acec-25d1-48aa-b467-65eac8578bef" providerId="ADAL" clId="{79ED0C4E-7D31-4904-9824-CD42FD471766}" dt="2024-04-21T09:24:03.448" v="10748" actId="1036"/>
          <ac:grpSpMkLst>
            <pc:docMk/>
            <pc:sldMk cId="281399200" sldId="3217"/>
            <ac:grpSpMk id="3" creationId="{4E6E3C03-BD89-9400-A040-B3F1AC6BE4A0}"/>
          </ac:grpSpMkLst>
        </pc:grpChg>
        <pc:grpChg chg="add del mod">
          <ac:chgData name="Pierugo Pace" userId="2226acec-25d1-48aa-b467-65eac8578bef" providerId="ADAL" clId="{79ED0C4E-7D31-4904-9824-CD42FD471766}" dt="2024-04-18T10:02:28.571" v="2350" actId="165"/>
          <ac:grpSpMkLst>
            <pc:docMk/>
            <pc:sldMk cId="281399200" sldId="3217"/>
            <ac:grpSpMk id="3" creationId="{5506473F-1346-989B-C8A5-B9C5437DB08A}"/>
          </ac:grpSpMkLst>
        </pc:grpChg>
        <pc:grpChg chg="add del mod">
          <ac:chgData name="Pierugo Pace" userId="2226acec-25d1-48aa-b467-65eac8578bef" providerId="ADAL" clId="{79ED0C4E-7D31-4904-9824-CD42FD471766}" dt="2024-04-18T15:24:12.841" v="3618" actId="165"/>
          <ac:grpSpMkLst>
            <pc:docMk/>
            <pc:sldMk cId="281399200" sldId="3217"/>
            <ac:grpSpMk id="6" creationId="{615A6F53-191D-ECF0-19FA-DA28BAD889C9}"/>
          </ac:grpSpMkLst>
        </pc:grpChg>
        <pc:grpChg chg="add del mod">
          <ac:chgData name="Pierugo Pace" userId="2226acec-25d1-48aa-b467-65eac8578bef" providerId="ADAL" clId="{79ED0C4E-7D31-4904-9824-CD42FD471766}" dt="2024-04-19T10:22:31.435" v="8305" actId="165"/>
          <ac:grpSpMkLst>
            <pc:docMk/>
            <pc:sldMk cId="281399200" sldId="3217"/>
            <ac:grpSpMk id="17" creationId="{B45526CB-D859-36DC-1D91-CFA3E98EF350}"/>
          </ac:grpSpMkLst>
        </pc:grpChg>
        <pc:grpChg chg="del mod topLvl">
          <ac:chgData name="Pierugo Pace" userId="2226acec-25d1-48aa-b467-65eac8578bef" providerId="ADAL" clId="{79ED0C4E-7D31-4904-9824-CD42FD471766}" dt="2024-04-18T15:24:19.523" v="3619" actId="165"/>
          <ac:grpSpMkLst>
            <pc:docMk/>
            <pc:sldMk cId="281399200" sldId="3217"/>
            <ac:grpSpMk id="27" creationId="{00000000-0000-0000-0000-000000000000}"/>
          </ac:grpSpMkLst>
        </pc:grpChg>
        <pc:picChg chg="add del mod">
          <ac:chgData name="Pierugo Pace" userId="2226acec-25d1-48aa-b467-65eac8578bef" providerId="ADAL" clId="{79ED0C4E-7D31-4904-9824-CD42FD471766}" dt="2024-04-21T09:24:01.055" v="10746" actId="478"/>
          <ac:picMkLst>
            <pc:docMk/>
            <pc:sldMk cId="281399200" sldId="3217"/>
            <ac:picMk id="2" creationId="{C1D0BD9C-279F-51A7-64ED-CDCC5AE0FBE5}"/>
          </ac:picMkLst>
        </pc:picChg>
        <pc:picChg chg="add mod">
          <ac:chgData name="Pierugo Pace" userId="2226acec-25d1-48aa-b467-65eac8578bef" providerId="ADAL" clId="{79ED0C4E-7D31-4904-9824-CD42FD471766}" dt="2024-04-19T15:30:19.907" v="10503"/>
          <ac:picMkLst>
            <pc:docMk/>
            <pc:sldMk cId="281399200" sldId="3217"/>
            <ac:picMk id="2" creationId="{D71B5A66-BB51-F907-12EF-DF27AEF5E500}"/>
          </ac:picMkLst>
        </pc:picChg>
        <pc:picChg chg="mod">
          <ac:chgData name="Pierugo Pace" userId="2226acec-25d1-48aa-b467-65eac8578bef" providerId="ADAL" clId="{79ED0C4E-7D31-4904-9824-CD42FD471766}" dt="2024-04-21T09:24:01.397" v="10747"/>
          <ac:picMkLst>
            <pc:docMk/>
            <pc:sldMk cId="281399200" sldId="3217"/>
            <ac:picMk id="6" creationId="{DD2CC4F5-B729-D6E1-462F-4B38CE9A74DF}"/>
          </ac:picMkLst>
        </pc:picChg>
        <pc:picChg chg="mod topLvl">
          <ac:chgData name="Pierugo Pace" userId="2226acec-25d1-48aa-b467-65eac8578bef" providerId="ADAL" clId="{79ED0C4E-7D31-4904-9824-CD42FD471766}" dt="2024-04-19T10:22:31.435" v="8305" actId="165"/>
          <ac:picMkLst>
            <pc:docMk/>
            <pc:sldMk cId="281399200" sldId="3217"/>
            <ac:picMk id="20" creationId="{00000000-0000-0000-0000-000000000000}"/>
          </ac:picMkLst>
        </pc:picChg>
        <pc:cxnChg chg="del mod topLvl">
          <ac:chgData name="Pierugo Pace" userId="2226acec-25d1-48aa-b467-65eac8578bef" providerId="ADAL" clId="{79ED0C4E-7D31-4904-9824-CD42FD471766}" dt="2024-04-18T15:29:58.643" v="3741" actId="478"/>
          <ac:cxnSpMkLst>
            <pc:docMk/>
            <pc:sldMk cId="281399200" sldId="3217"/>
            <ac:cxnSpMk id="23" creationId="{00000000-0000-0000-0000-000000000000}"/>
          </ac:cxnSpMkLst>
        </pc:cxnChg>
      </pc:sldChg>
      <pc:sldChg chg="addSp delSp modSp mod modAnim modNotesTx">
        <pc:chgData name="Pierugo Pace" userId="2226acec-25d1-48aa-b467-65eac8578bef" providerId="ADAL" clId="{79ED0C4E-7D31-4904-9824-CD42FD471766}" dt="2024-04-23T13:10:03.971" v="13084" actId="20577"/>
        <pc:sldMkLst>
          <pc:docMk/>
          <pc:sldMk cId="2040960020" sldId="3218"/>
        </pc:sldMkLst>
        <pc:spChg chg="add mod">
          <ac:chgData name="Pierugo Pace" userId="2226acec-25d1-48aa-b467-65eac8578bef" providerId="ADAL" clId="{79ED0C4E-7D31-4904-9824-CD42FD471766}" dt="2024-04-23T12:32:52.585" v="12810" actId="20577"/>
          <ac:spMkLst>
            <pc:docMk/>
            <pc:sldMk cId="2040960020" sldId="3218"/>
            <ac:spMk id="2" creationId="{1F5AA0ED-0D3B-9A89-4F6E-EAC3A047F6C9}"/>
          </ac:spMkLst>
        </pc:spChg>
        <pc:spChg chg="add del mod">
          <ac:chgData name="Pierugo Pace" userId="2226acec-25d1-48aa-b467-65eac8578bef" providerId="ADAL" clId="{79ED0C4E-7D31-4904-9824-CD42FD471766}" dt="2024-04-18T13:14:16.913" v="3219" actId="478"/>
          <ac:spMkLst>
            <pc:docMk/>
            <pc:sldMk cId="2040960020" sldId="3218"/>
            <ac:spMk id="3" creationId="{76FAF903-BE26-89F1-3E60-5F1F5153E27C}"/>
          </ac:spMkLst>
        </pc:spChg>
        <pc:spChg chg="mod">
          <ac:chgData name="Pierugo Pace" userId="2226acec-25d1-48aa-b467-65eac8578bef" providerId="ADAL" clId="{79ED0C4E-7D31-4904-9824-CD42FD471766}" dt="2024-04-23T13:10:03.971" v="13084" actId="20577"/>
          <ac:spMkLst>
            <pc:docMk/>
            <pc:sldMk cId="2040960020" sldId="3218"/>
            <ac:spMk id="6" creationId="{00000000-0000-0000-0000-000000000000}"/>
          </ac:spMkLst>
        </pc:spChg>
        <pc:spChg chg="del mod">
          <ac:chgData name="Pierugo Pace" userId="2226acec-25d1-48aa-b467-65eac8578bef" providerId="ADAL" clId="{79ED0C4E-7D31-4904-9824-CD42FD471766}" dt="2024-04-18T13:14:14.854" v="3218" actId="478"/>
          <ac:spMkLst>
            <pc:docMk/>
            <pc:sldMk cId="2040960020" sldId="3218"/>
            <ac:spMk id="7" creationId="{00000000-0000-0000-0000-000000000000}"/>
          </ac:spMkLst>
        </pc:spChg>
        <pc:picChg chg="add mod modCrop">
          <ac:chgData name="Pierugo Pace" userId="2226acec-25d1-48aa-b467-65eac8578bef" providerId="ADAL" clId="{79ED0C4E-7D31-4904-9824-CD42FD471766}" dt="2024-04-18T13:23:26.621" v="3368" actId="1076"/>
          <ac:picMkLst>
            <pc:docMk/>
            <pc:sldMk cId="2040960020" sldId="3218"/>
            <ac:picMk id="9" creationId="{B87B0D8F-4932-B6D1-C9AE-3801D2C5F40E}"/>
          </ac:picMkLst>
        </pc:picChg>
        <pc:picChg chg="add del mod">
          <ac:chgData name="Pierugo Pace" userId="2226acec-25d1-48aa-b467-65eac8578bef" providerId="ADAL" clId="{79ED0C4E-7D31-4904-9824-CD42FD471766}" dt="2024-04-18T13:14:48.162" v="3232" actId="478"/>
          <ac:picMkLst>
            <pc:docMk/>
            <pc:sldMk cId="2040960020" sldId="3218"/>
            <ac:picMk id="11" creationId="{FEB45CD5-1144-CF39-70A8-56FAA88BBB0C}"/>
          </ac:picMkLst>
        </pc:picChg>
        <pc:picChg chg="add mod modCrop">
          <ac:chgData name="Pierugo Pace" userId="2226acec-25d1-48aa-b467-65eac8578bef" providerId="ADAL" clId="{79ED0C4E-7D31-4904-9824-CD42FD471766}" dt="2024-04-18T13:22:06.767" v="3348" actId="1076"/>
          <ac:picMkLst>
            <pc:docMk/>
            <pc:sldMk cId="2040960020" sldId="3218"/>
            <ac:picMk id="13" creationId="{E33C20AD-F560-0100-19A6-007030DA6D81}"/>
          </ac:picMkLst>
        </pc:picChg>
        <pc:picChg chg="add mod modCrop">
          <ac:chgData name="Pierugo Pace" userId="2226acec-25d1-48aa-b467-65eac8578bef" providerId="ADAL" clId="{79ED0C4E-7D31-4904-9824-CD42FD471766}" dt="2024-04-18T13:22:09.479" v="3349" actId="1076"/>
          <ac:picMkLst>
            <pc:docMk/>
            <pc:sldMk cId="2040960020" sldId="3218"/>
            <ac:picMk id="15" creationId="{AB815278-9A31-167E-950A-6424712404A5}"/>
          </ac:picMkLst>
        </pc:picChg>
      </pc:sldChg>
      <pc:sldChg chg="addSp delSp modSp mod modAnim modNotesTx">
        <pc:chgData name="Pierugo Pace" userId="2226acec-25d1-48aa-b467-65eac8578bef" providerId="ADAL" clId="{79ED0C4E-7D31-4904-9824-CD42FD471766}" dt="2024-04-23T12:33:14.007" v="12814" actId="20577"/>
        <pc:sldMkLst>
          <pc:docMk/>
          <pc:sldMk cId="3833115350" sldId="3219"/>
        </pc:sldMkLst>
        <pc:spChg chg="add mod">
          <ac:chgData name="Pierugo Pace" userId="2226acec-25d1-48aa-b467-65eac8578bef" providerId="ADAL" clId="{79ED0C4E-7D31-4904-9824-CD42FD471766}" dt="2024-04-23T12:33:14.007" v="12814" actId="20577"/>
          <ac:spMkLst>
            <pc:docMk/>
            <pc:sldMk cId="3833115350" sldId="3219"/>
            <ac:spMk id="2" creationId="{6A2B14B9-40CC-CE50-2DE7-EF1FE4A6D12B}"/>
          </ac:spMkLst>
        </pc:spChg>
        <pc:spChg chg="mod">
          <ac:chgData name="Pierugo Pace" userId="2226acec-25d1-48aa-b467-65eac8578bef" providerId="ADAL" clId="{79ED0C4E-7D31-4904-9824-CD42FD471766}" dt="2024-04-23T12:33:12.053" v="12813" actId="20577"/>
          <ac:spMkLst>
            <pc:docMk/>
            <pc:sldMk cId="3833115350" sldId="3219"/>
            <ac:spMk id="3" creationId="{8DC4B8A9-87F5-3C46-8C8C-5B396166EEC8}"/>
          </ac:spMkLst>
        </pc:spChg>
        <pc:spChg chg="mod">
          <ac:chgData name="Pierugo Pace" userId="2226acec-25d1-48aa-b467-65eac8578bef" providerId="ADAL" clId="{79ED0C4E-7D31-4904-9824-CD42FD471766}" dt="2024-04-19T15:29:34.826" v="10502" actId="20577"/>
          <ac:spMkLst>
            <pc:docMk/>
            <pc:sldMk cId="3833115350" sldId="3219"/>
            <ac:spMk id="4" creationId="{950C71FA-31D6-E24E-82F0-93559BE56F80}"/>
          </ac:spMkLst>
        </pc:spChg>
        <pc:spChg chg="del">
          <ac:chgData name="Pierugo Pace" userId="2226acec-25d1-48aa-b467-65eac8578bef" providerId="ADAL" clId="{79ED0C4E-7D31-4904-9824-CD42FD471766}" dt="2024-04-18T13:51:45.331" v="3430" actId="478"/>
          <ac:spMkLst>
            <pc:docMk/>
            <pc:sldMk cId="3833115350" sldId="3219"/>
            <ac:spMk id="6" creationId="{00000000-0000-0000-0000-000000000000}"/>
          </ac:spMkLst>
        </pc:spChg>
        <pc:spChg chg="add del">
          <ac:chgData name="Pierugo Pace" userId="2226acec-25d1-48aa-b467-65eac8578bef" providerId="ADAL" clId="{79ED0C4E-7D31-4904-9824-CD42FD471766}" dt="2024-04-18T13:52:33.306" v="3467" actId="22"/>
          <ac:spMkLst>
            <pc:docMk/>
            <pc:sldMk cId="3833115350" sldId="3219"/>
            <ac:spMk id="9" creationId="{A4012158-4A73-CC7B-82D9-1D1C7C92B185}"/>
          </ac:spMkLst>
        </pc:spChg>
        <pc:spChg chg="add mod">
          <ac:chgData name="Pierugo Pace" userId="2226acec-25d1-48aa-b467-65eac8578bef" providerId="ADAL" clId="{79ED0C4E-7D31-4904-9824-CD42FD471766}" dt="2024-04-22T15:31:46" v="12339" actId="14100"/>
          <ac:spMkLst>
            <pc:docMk/>
            <pc:sldMk cId="3833115350" sldId="3219"/>
            <ac:spMk id="10" creationId="{1D63D321-1148-78D7-4BCB-7FCBA6E50859}"/>
          </ac:spMkLst>
        </pc:spChg>
        <pc:picChg chg="add mod">
          <ac:chgData name="Pierugo Pace" userId="2226acec-25d1-48aa-b467-65eac8578bef" providerId="ADAL" clId="{79ED0C4E-7D31-4904-9824-CD42FD471766}" dt="2024-04-19T06:47:19.978" v="4934"/>
          <ac:picMkLst>
            <pc:docMk/>
            <pc:sldMk cId="3833115350" sldId="3219"/>
            <ac:picMk id="6" creationId="{5C96BE5F-82F4-4F85-A210-F5D5A337FEE6}"/>
          </ac:picMkLst>
        </pc:picChg>
        <pc:picChg chg="add del mod">
          <ac:chgData name="Pierugo Pace" userId="2226acec-25d1-48aa-b467-65eac8578bef" providerId="ADAL" clId="{79ED0C4E-7D31-4904-9824-CD42FD471766}" dt="2024-04-18T15:21:41.845" v="3592" actId="478"/>
          <ac:picMkLst>
            <pc:docMk/>
            <pc:sldMk cId="3833115350" sldId="3219"/>
            <ac:picMk id="7" creationId="{A40B5C55-C1F8-F579-6525-751604E3A3A5}"/>
          </ac:picMkLst>
        </pc:picChg>
        <pc:picChg chg="add del mod">
          <ac:chgData name="Pierugo Pace" userId="2226acec-25d1-48aa-b467-65eac8578bef" providerId="ADAL" clId="{79ED0C4E-7D31-4904-9824-CD42FD471766}" dt="2024-04-18T15:23:14.153" v="3601" actId="478"/>
          <ac:picMkLst>
            <pc:docMk/>
            <pc:sldMk cId="3833115350" sldId="3219"/>
            <ac:picMk id="12" creationId="{F250C3CE-91FF-08CA-97B7-3B1AFD3AA492}"/>
          </ac:picMkLst>
        </pc:picChg>
        <pc:picChg chg="add mod">
          <ac:chgData name="Pierugo Pace" userId="2226acec-25d1-48aa-b467-65eac8578bef" providerId="ADAL" clId="{79ED0C4E-7D31-4904-9824-CD42FD471766}" dt="2024-04-22T15:24:08.389" v="12225" actId="1076"/>
          <ac:picMkLst>
            <pc:docMk/>
            <pc:sldMk cId="3833115350" sldId="3219"/>
            <ac:picMk id="14" creationId="{E1415A8D-4CFB-508E-3926-846B5F23E0B1}"/>
          </ac:picMkLst>
        </pc:picChg>
      </pc:sldChg>
      <pc:sldChg chg="modSp mod modAnim modNotesTx">
        <pc:chgData name="Pierugo Pace" userId="2226acec-25d1-48aa-b467-65eac8578bef" providerId="ADAL" clId="{79ED0C4E-7D31-4904-9824-CD42FD471766}" dt="2024-04-22T13:02:41.925" v="12093" actId="20577"/>
        <pc:sldMkLst>
          <pc:docMk/>
          <pc:sldMk cId="2916495761" sldId="3220"/>
        </pc:sldMkLst>
        <pc:spChg chg="mod">
          <ac:chgData name="Pierugo Pace" userId="2226acec-25d1-48aa-b467-65eac8578bef" providerId="ADAL" clId="{79ED0C4E-7D31-4904-9824-CD42FD471766}" dt="2024-04-22T13:02:41.925" v="12093" actId="20577"/>
          <ac:spMkLst>
            <pc:docMk/>
            <pc:sldMk cId="2916495761" sldId="3220"/>
            <ac:spMk id="3" creationId="{8DC4B8A9-87F5-3C46-8C8C-5B396166EEC8}"/>
          </ac:spMkLst>
        </pc:spChg>
      </pc:sldChg>
      <pc:sldChg chg="addSp delSp modSp mod modAnim">
        <pc:chgData name="Pierugo Pace" userId="2226acec-25d1-48aa-b467-65eac8578bef" providerId="ADAL" clId="{79ED0C4E-7D31-4904-9824-CD42FD471766}" dt="2024-04-24T10:02:13.914" v="13334" actId="1076"/>
        <pc:sldMkLst>
          <pc:docMk/>
          <pc:sldMk cId="3999669552" sldId="3222"/>
        </pc:sldMkLst>
        <pc:spChg chg="mod">
          <ac:chgData name="Pierugo Pace" userId="2226acec-25d1-48aa-b467-65eac8578bef" providerId="ADAL" clId="{79ED0C4E-7D31-4904-9824-CD42FD471766}" dt="2024-04-24T09:52:43.958" v="13312" actId="20577"/>
          <ac:spMkLst>
            <pc:docMk/>
            <pc:sldMk cId="3999669552" sldId="3222"/>
            <ac:spMk id="3" creationId="{8DC4B8A9-87F5-3C46-8C8C-5B396166EEC8}"/>
          </ac:spMkLst>
        </pc:spChg>
        <pc:spChg chg="mod">
          <ac:chgData name="Pierugo Pace" userId="2226acec-25d1-48aa-b467-65eac8578bef" providerId="ADAL" clId="{79ED0C4E-7D31-4904-9824-CD42FD471766}" dt="2024-04-23T12:34:21.341" v="12825" actId="20577"/>
          <ac:spMkLst>
            <pc:docMk/>
            <pc:sldMk cId="3999669552" sldId="3222"/>
            <ac:spMk id="4" creationId="{950C71FA-31D6-E24E-82F0-93559BE56F80}"/>
          </ac:spMkLst>
        </pc:spChg>
        <pc:spChg chg="mod">
          <ac:chgData name="Pierugo Pace" userId="2226acec-25d1-48aa-b467-65eac8578bef" providerId="ADAL" clId="{79ED0C4E-7D31-4904-9824-CD42FD471766}" dt="2024-04-22T15:48:03.043" v="12645" actId="20577"/>
          <ac:spMkLst>
            <pc:docMk/>
            <pc:sldMk cId="3999669552" sldId="3222"/>
            <ac:spMk id="5" creationId="{EC1D3909-932D-1C4E-9F8F-1E77B13BBB30}"/>
          </ac:spMkLst>
        </pc:spChg>
        <pc:spChg chg="add mod">
          <ac:chgData name="Pierugo Pace" userId="2226acec-25d1-48aa-b467-65eac8578bef" providerId="ADAL" clId="{79ED0C4E-7D31-4904-9824-CD42FD471766}" dt="2024-04-24T10:02:13.914" v="13334" actId="1076"/>
          <ac:spMkLst>
            <pc:docMk/>
            <pc:sldMk cId="3999669552" sldId="3222"/>
            <ac:spMk id="6" creationId="{598F5691-D20E-A4F3-6139-093F33792552}"/>
          </ac:spMkLst>
        </pc:spChg>
        <pc:spChg chg="add mod">
          <ac:chgData name="Pierugo Pace" userId="2226acec-25d1-48aa-b467-65eac8578bef" providerId="ADAL" clId="{79ED0C4E-7D31-4904-9824-CD42FD471766}" dt="2024-04-23T12:34:20.023" v="12824" actId="20577"/>
          <ac:spMkLst>
            <pc:docMk/>
            <pc:sldMk cId="3999669552" sldId="3222"/>
            <ac:spMk id="8" creationId="{C06F3715-BF19-1A22-CB99-0F459E336049}"/>
          </ac:spMkLst>
        </pc:spChg>
        <pc:spChg chg="mod">
          <ac:chgData name="Pierugo Pace" userId="2226acec-25d1-48aa-b467-65eac8578bef" providerId="ADAL" clId="{79ED0C4E-7D31-4904-9824-CD42FD471766}" dt="2024-04-21T09:24:21.366" v="10754"/>
          <ac:spMkLst>
            <pc:docMk/>
            <pc:sldMk cId="3999669552" sldId="3222"/>
            <ac:spMk id="10" creationId="{190E70EF-7030-3F13-98CB-1B01C4C2C9B7}"/>
          </ac:spMkLst>
        </pc:spChg>
        <pc:grpChg chg="add mod">
          <ac:chgData name="Pierugo Pace" userId="2226acec-25d1-48aa-b467-65eac8578bef" providerId="ADAL" clId="{79ED0C4E-7D31-4904-9824-CD42FD471766}" dt="2024-04-21T09:24:21.366" v="10754"/>
          <ac:grpSpMkLst>
            <pc:docMk/>
            <pc:sldMk cId="3999669552" sldId="3222"/>
            <ac:grpSpMk id="8" creationId="{50A972A1-A986-C1E8-0A31-6399293A2678}"/>
          </ac:grpSpMkLst>
        </pc:grpChg>
        <pc:graphicFrameChg chg="add del mod modGraphic">
          <ac:chgData name="Pierugo Pace" userId="2226acec-25d1-48aa-b467-65eac8578bef" providerId="ADAL" clId="{79ED0C4E-7D31-4904-9824-CD42FD471766}" dt="2024-04-19T09:51:43.615" v="8070" actId="20577"/>
          <ac:graphicFrameMkLst>
            <pc:docMk/>
            <pc:sldMk cId="3999669552" sldId="3222"/>
            <ac:graphicFrameMk id="2" creationId="{244BCE46-F42D-B6BC-53F0-16D1213F3DB4}"/>
          </ac:graphicFrameMkLst>
        </pc:graphicFrameChg>
        <pc:picChg chg="add del mod">
          <ac:chgData name="Pierugo Pace" userId="2226acec-25d1-48aa-b467-65eac8578bef" providerId="ADAL" clId="{79ED0C4E-7D31-4904-9824-CD42FD471766}" dt="2024-04-21T09:24:26.991" v="10755" actId="478"/>
          <ac:picMkLst>
            <pc:docMk/>
            <pc:sldMk cId="3999669552" sldId="3222"/>
            <ac:picMk id="7" creationId="{1F2E3513-E83D-3CFC-6441-4F9D9840D58C}"/>
          </ac:picMkLst>
        </pc:picChg>
        <pc:picChg chg="mod">
          <ac:chgData name="Pierugo Pace" userId="2226acec-25d1-48aa-b467-65eac8578bef" providerId="ADAL" clId="{79ED0C4E-7D31-4904-9824-CD42FD471766}" dt="2024-04-21T09:24:21.366" v="10754"/>
          <ac:picMkLst>
            <pc:docMk/>
            <pc:sldMk cId="3999669552" sldId="3222"/>
            <ac:picMk id="9" creationId="{A9715DDB-4699-C9FC-83B6-B471F1D7EAA1}"/>
          </ac:picMkLst>
        </pc:picChg>
      </pc:sldChg>
      <pc:sldChg chg="addSp modSp mod modAnim">
        <pc:chgData name="Pierugo Pace" userId="2226acec-25d1-48aa-b467-65eac8578bef" providerId="ADAL" clId="{79ED0C4E-7D31-4904-9824-CD42FD471766}" dt="2024-04-24T10:02:04.135" v="13332" actId="1076"/>
        <pc:sldMkLst>
          <pc:docMk/>
          <pc:sldMk cId="2959437792" sldId="3223"/>
        </pc:sldMkLst>
        <pc:spChg chg="add mod">
          <ac:chgData name="Pierugo Pace" userId="2226acec-25d1-48aa-b467-65eac8578bef" providerId="ADAL" clId="{79ED0C4E-7D31-4904-9824-CD42FD471766}" dt="2024-04-23T12:34:41.878" v="12829" actId="20577"/>
          <ac:spMkLst>
            <pc:docMk/>
            <pc:sldMk cId="2959437792" sldId="3223"/>
            <ac:spMk id="2" creationId="{6A910622-D9C9-534B-6026-FA48BBCAC737}"/>
          </ac:spMkLst>
        </pc:spChg>
        <pc:spChg chg="mod">
          <ac:chgData name="Pierugo Pace" userId="2226acec-25d1-48aa-b467-65eac8578bef" providerId="ADAL" clId="{79ED0C4E-7D31-4904-9824-CD42FD471766}" dt="2024-04-22T07:30:13.012" v="11939" actId="20577"/>
          <ac:spMkLst>
            <pc:docMk/>
            <pc:sldMk cId="2959437792" sldId="3223"/>
            <ac:spMk id="3" creationId="{8DC4B8A9-87F5-3C46-8C8C-5B396166EEC8}"/>
          </ac:spMkLst>
        </pc:spChg>
        <pc:spChg chg="mod">
          <ac:chgData name="Pierugo Pace" userId="2226acec-25d1-48aa-b467-65eac8578bef" providerId="ADAL" clId="{79ED0C4E-7D31-4904-9824-CD42FD471766}" dt="2024-04-23T12:34:39.846" v="12828" actId="20577"/>
          <ac:spMkLst>
            <pc:docMk/>
            <pc:sldMk cId="2959437792" sldId="3223"/>
            <ac:spMk id="4" creationId="{950C71FA-31D6-E24E-82F0-93559BE56F80}"/>
          </ac:spMkLst>
        </pc:spChg>
        <pc:spChg chg="mod">
          <ac:chgData name="Pierugo Pace" userId="2226acec-25d1-48aa-b467-65eac8578bef" providerId="ADAL" clId="{79ED0C4E-7D31-4904-9824-CD42FD471766}" dt="2024-04-22T15:48:12.034" v="12663" actId="20577"/>
          <ac:spMkLst>
            <pc:docMk/>
            <pc:sldMk cId="2959437792" sldId="3223"/>
            <ac:spMk id="5" creationId="{EC1D3909-932D-1C4E-9F8F-1E77B13BBB30}"/>
          </ac:spMkLst>
        </pc:spChg>
        <pc:spChg chg="mod">
          <ac:chgData name="Pierugo Pace" userId="2226acec-25d1-48aa-b467-65eac8578bef" providerId="ADAL" clId="{79ED0C4E-7D31-4904-9824-CD42FD471766}" dt="2024-04-24T10:02:04.135" v="13332" actId="1076"/>
          <ac:spMkLst>
            <pc:docMk/>
            <pc:sldMk cId="2959437792" sldId="3223"/>
            <ac:spMk id="7" creationId="{00000000-0000-0000-0000-000000000000}"/>
          </ac:spMkLst>
        </pc:spChg>
        <pc:graphicFrameChg chg="mod modGraphic">
          <ac:chgData name="Pierugo Pace" userId="2226acec-25d1-48aa-b467-65eac8578bef" providerId="ADAL" clId="{79ED0C4E-7D31-4904-9824-CD42FD471766}" dt="2024-04-18T15:55:38.179" v="4195" actId="20577"/>
          <ac:graphicFrameMkLst>
            <pc:docMk/>
            <pc:sldMk cId="2959437792" sldId="3223"/>
            <ac:graphicFrameMk id="6" creationId="{00000000-0000-0000-0000-000000000000}"/>
          </ac:graphicFrameMkLst>
        </pc:graphicFrameChg>
        <pc:picChg chg="add mod">
          <ac:chgData name="Pierugo Pace" userId="2226acec-25d1-48aa-b467-65eac8578bef" providerId="ADAL" clId="{79ED0C4E-7D31-4904-9824-CD42FD471766}" dt="2024-04-19T15:37:44.604" v="10651" actId="1076"/>
          <ac:picMkLst>
            <pc:docMk/>
            <pc:sldMk cId="2959437792" sldId="3223"/>
            <ac:picMk id="2" creationId="{044FDF08-6DF9-D0E8-2370-E32274BA253D}"/>
          </ac:picMkLst>
        </pc:picChg>
        <pc:picChg chg="add mod">
          <ac:chgData name="Pierugo Pace" userId="2226acec-25d1-48aa-b467-65eac8578bef" providerId="ADAL" clId="{79ED0C4E-7D31-4904-9824-CD42FD471766}" dt="2024-04-19T15:38:22.792" v="10659"/>
          <ac:picMkLst>
            <pc:docMk/>
            <pc:sldMk cId="2959437792" sldId="3223"/>
            <ac:picMk id="8" creationId="{532970AF-32F6-D81A-16D9-16EB42752999}"/>
          </ac:picMkLst>
        </pc:picChg>
      </pc:sldChg>
      <pc:sldChg chg="addSp delSp modSp mod modAnim modNotesTx">
        <pc:chgData name="Pierugo Pace" userId="2226acec-25d1-48aa-b467-65eac8578bef" providerId="ADAL" clId="{79ED0C4E-7D31-4904-9824-CD42FD471766}" dt="2024-04-24T11:36:18.352" v="13336" actId="2711"/>
        <pc:sldMkLst>
          <pc:docMk/>
          <pc:sldMk cId="716079" sldId="3224"/>
        </pc:sldMkLst>
        <pc:spChg chg="add del mod">
          <ac:chgData name="Pierugo Pace" userId="2226acec-25d1-48aa-b467-65eac8578bef" providerId="ADAL" clId="{79ED0C4E-7D31-4904-9824-CD42FD471766}" dt="2024-04-22T15:58:49.344" v="12717" actId="478"/>
          <ac:spMkLst>
            <pc:docMk/>
            <pc:sldMk cId="716079" sldId="3224"/>
            <ac:spMk id="2" creationId="{00A7FDF0-6CE2-97BB-981E-946BE396DB5B}"/>
          </ac:spMkLst>
        </pc:spChg>
        <pc:spChg chg="mod">
          <ac:chgData name="Pierugo Pace" userId="2226acec-25d1-48aa-b467-65eac8578bef" providerId="ADAL" clId="{79ED0C4E-7D31-4904-9824-CD42FD471766}" dt="2024-04-24T11:36:18.352" v="13336" actId="2711"/>
          <ac:spMkLst>
            <pc:docMk/>
            <pc:sldMk cId="716079" sldId="3224"/>
            <ac:spMk id="3" creationId="{8DC4B8A9-87F5-3C46-8C8C-5B396166EEC8}"/>
          </ac:spMkLst>
        </pc:spChg>
        <pc:spChg chg="mod">
          <ac:chgData name="Pierugo Pace" userId="2226acec-25d1-48aa-b467-65eac8578bef" providerId="ADAL" clId="{79ED0C4E-7D31-4904-9824-CD42FD471766}" dt="2024-04-18T08:54:08.820" v="639" actId="20577"/>
          <ac:spMkLst>
            <pc:docMk/>
            <pc:sldMk cId="716079" sldId="3224"/>
            <ac:spMk id="4" creationId="{950C71FA-31D6-E24E-82F0-93559BE56F80}"/>
          </ac:spMkLst>
        </pc:spChg>
        <pc:spChg chg="add mod">
          <ac:chgData name="Pierugo Pace" userId="2226acec-25d1-48aa-b467-65eac8578bef" providerId="ADAL" clId="{79ED0C4E-7D31-4904-9824-CD42FD471766}" dt="2024-04-23T12:34:54.014" v="12837" actId="20577"/>
          <ac:spMkLst>
            <pc:docMk/>
            <pc:sldMk cId="716079" sldId="3224"/>
            <ac:spMk id="6" creationId="{A3F040A0-46D8-AC79-706C-7A9D81D8C4CB}"/>
          </ac:spMkLst>
        </pc:spChg>
      </pc:sldChg>
      <pc:sldChg chg="del">
        <pc:chgData name="Pierugo Pace" userId="2226acec-25d1-48aa-b467-65eac8578bef" providerId="ADAL" clId="{79ED0C4E-7D31-4904-9824-CD42FD471766}" dt="2024-04-18T08:55:04.484" v="664" actId="47"/>
        <pc:sldMkLst>
          <pc:docMk/>
          <pc:sldMk cId="1400267656" sldId="3225"/>
        </pc:sldMkLst>
      </pc:sldChg>
      <pc:sldChg chg="modSp mod modAnim modNotesTx">
        <pc:chgData name="Pierugo Pace" userId="2226acec-25d1-48aa-b467-65eac8578bef" providerId="ADAL" clId="{79ED0C4E-7D31-4904-9824-CD42FD471766}" dt="2024-04-22T07:29:42.191" v="11853"/>
        <pc:sldMkLst>
          <pc:docMk/>
          <pc:sldMk cId="2421799353" sldId="3226"/>
        </pc:sldMkLst>
        <pc:spChg chg="mod">
          <ac:chgData name="Pierugo Pace" userId="2226acec-25d1-48aa-b467-65eac8578bef" providerId="ADAL" clId="{79ED0C4E-7D31-4904-9824-CD42FD471766}" dt="2024-04-19T10:25:08.974" v="8333" actId="20577"/>
          <ac:spMkLst>
            <pc:docMk/>
            <pc:sldMk cId="2421799353" sldId="3226"/>
            <ac:spMk id="3" creationId="{8DC4B8A9-87F5-3C46-8C8C-5B396166EEC8}"/>
          </ac:spMkLst>
        </pc:spChg>
        <pc:spChg chg="mod">
          <ac:chgData name="Pierugo Pace" userId="2226acec-25d1-48aa-b467-65eac8578bef" providerId="ADAL" clId="{79ED0C4E-7D31-4904-9824-CD42FD471766}" dt="2024-04-18T08:54:55.481" v="660" actId="20577"/>
          <ac:spMkLst>
            <pc:docMk/>
            <pc:sldMk cId="2421799353" sldId="3226"/>
            <ac:spMk id="4" creationId="{950C71FA-31D6-E24E-82F0-93559BE56F80}"/>
          </ac:spMkLst>
        </pc:spChg>
        <pc:spChg chg="mod">
          <ac:chgData name="Pierugo Pace" userId="2226acec-25d1-48aa-b467-65eac8578bef" providerId="ADAL" clId="{79ED0C4E-7D31-4904-9824-CD42FD471766}" dt="2024-04-18T08:54:59.747" v="663" actId="20577"/>
          <ac:spMkLst>
            <pc:docMk/>
            <pc:sldMk cId="2421799353" sldId="3226"/>
            <ac:spMk id="5" creationId="{EC1D3909-932D-1C4E-9F8F-1E77B13BBB30}"/>
          </ac:spMkLst>
        </pc:spChg>
      </pc:sldChg>
      <pc:sldChg chg="del modAnim">
        <pc:chgData name="Pierugo Pace" userId="2226acec-25d1-48aa-b467-65eac8578bef" providerId="ADAL" clId="{79ED0C4E-7D31-4904-9824-CD42FD471766}" dt="2024-04-19T15:27:42.101" v="10446" actId="2696"/>
        <pc:sldMkLst>
          <pc:docMk/>
          <pc:sldMk cId="338358385" sldId="3228"/>
        </pc:sldMkLst>
      </pc:sldChg>
      <pc:sldChg chg="addSp modSp add mod modAnim">
        <pc:chgData name="Pierugo Pace" userId="2226acec-25d1-48aa-b467-65eac8578bef" providerId="ADAL" clId="{79ED0C4E-7D31-4904-9824-CD42FD471766}" dt="2024-04-24T09:49:45.842" v="13262" actId="20577"/>
        <pc:sldMkLst>
          <pc:docMk/>
          <pc:sldMk cId="2230992176" sldId="3228"/>
        </pc:sldMkLst>
        <pc:spChg chg="add mod">
          <ac:chgData name="Pierugo Pace" userId="2226acec-25d1-48aa-b467-65eac8578bef" providerId="ADAL" clId="{79ED0C4E-7D31-4904-9824-CD42FD471766}" dt="2024-04-23T12:33:00.230" v="12812" actId="20577"/>
          <ac:spMkLst>
            <pc:docMk/>
            <pc:sldMk cId="2230992176" sldId="3228"/>
            <ac:spMk id="2" creationId="{3EC5A431-6F09-2227-EDD5-8D216EBE80C9}"/>
          </ac:spMkLst>
        </pc:spChg>
        <pc:spChg chg="mod">
          <ac:chgData name="Pierugo Pace" userId="2226acec-25d1-48aa-b467-65eac8578bef" providerId="ADAL" clId="{79ED0C4E-7D31-4904-9824-CD42FD471766}" dt="2024-04-24T09:49:45.842" v="13262" actId="20577"/>
          <ac:spMkLst>
            <pc:docMk/>
            <pc:sldMk cId="2230992176" sldId="3228"/>
            <ac:spMk id="3" creationId="{8DC4B8A9-87F5-3C46-8C8C-5B396166EEC8}"/>
          </ac:spMkLst>
        </pc:spChg>
        <pc:spChg chg="mod">
          <ac:chgData name="Pierugo Pace" userId="2226acec-25d1-48aa-b467-65eac8578bef" providerId="ADAL" clId="{79ED0C4E-7D31-4904-9824-CD42FD471766}" dt="2024-04-23T12:32:57.975" v="12811" actId="20577"/>
          <ac:spMkLst>
            <pc:docMk/>
            <pc:sldMk cId="2230992176" sldId="3228"/>
            <ac:spMk id="4" creationId="{950C71FA-31D6-E24E-82F0-93559BE56F80}"/>
          </ac:spMkLst>
        </pc:spChg>
        <pc:spChg chg="mod">
          <ac:chgData name="Pierugo Pace" userId="2226acec-25d1-48aa-b467-65eac8578bef" providerId="ADAL" clId="{79ED0C4E-7D31-4904-9824-CD42FD471766}" dt="2024-04-19T15:29:27.735" v="10488" actId="20577"/>
          <ac:spMkLst>
            <pc:docMk/>
            <pc:sldMk cId="2230992176" sldId="3228"/>
            <ac:spMk id="5" creationId="{EC1D3909-932D-1C4E-9F8F-1E77B13BBB30}"/>
          </ac:spMkLst>
        </pc:spChg>
      </pc:sldChg>
      <pc:sldChg chg="add mod ord modShow">
        <pc:chgData name="Pierugo Pace" userId="2226acec-25d1-48aa-b467-65eac8578bef" providerId="ADAL" clId="{79ED0C4E-7D31-4904-9824-CD42FD471766}" dt="2024-04-23T12:35:40.542" v="12841"/>
        <pc:sldMkLst>
          <pc:docMk/>
          <pc:sldMk cId="1689686962" sldId="3230"/>
        </pc:sldMkLst>
      </pc:sldChg>
      <pc:sldChg chg="addSp delSp modSp del mod modAnim modNotesTx">
        <pc:chgData name="Pierugo Pace" userId="2226acec-25d1-48aa-b467-65eac8578bef" providerId="ADAL" clId="{79ED0C4E-7D31-4904-9824-CD42FD471766}" dt="2024-04-19T15:27:42.101" v="10446" actId="2696"/>
        <pc:sldMkLst>
          <pc:docMk/>
          <pc:sldMk cId="2937110100" sldId="3230"/>
        </pc:sldMkLst>
        <pc:spChg chg="add del mod">
          <ac:chgData name="Pierugo Pace" userId="2226acec-25d1-48aa-b467-65eac8578bef" providerId="ADAL" clId="{79ED0C4E-7D31-4904-9824-CD42FD471766}" dt="2024-04-18T11:30:19.363" v="2472" actId="478"/>
          <ac:spMkLst>
            <pc:docMk/>
            <pc:sldMk cId="2937110100" sldId="3230"/>
            <ac:spMk id="3" creationId="{ADBFA0A0-CCFB-B1DB-F8D8-78D2ED22764D}"/>
          </ac:spMkLst>
        </pc:spChg>
        <pc:spChg chg="add del mod">
          <ac:chgData name="Pierugo Pace" userId="2226acec-25d1-48aa-b467-65eac8578bef" providerId="ADAL" clId="{79ED0C4E-7D31-4904-9824-CD42FD471766}" dt="2024-04-18T13:01:13.680" v="2999" actId="14100"/>
          <ac:spMkLst>
            <pc:docMk/>
            <pc:sldMk cId="2937110100" sldId="3230"/>
            <ac:spMk id="6" creationId="{00000000-0000-0000-0000-000000000000}"/>
          </ac:spMkLst>
        </pc:spChg>
        <pc:spChg chg="mod">
          <ac:chgData name="Pierugo Pace" userId="2226acec-25d1-48aa-b467-65eac8578bef" providerId="ADAL" clId="{79ED0C4E-7D31-4904-9824-CD42FD471766}" dt="2024-04-18T13:03:00.024" v="3111" actId="404"/>
          <ac:spMkLst>
            <pc:docMk/>
            <pc:sldMk cId="2937110100" sldId="3230"/>
            <ac:spMk id="7" creationId="{00000000-0000-0000-0000-000000000000}"/>
          </ac:spMkLst>
        </pc:spChg>
      </pc:sldChg>
      <pc:sldChg chg="addSp modSp add mod ord">
        <pc:chgData name="Pierugo Pace" userId="2226acec-25d1-48aa-b467-65eac8578bef" providerId="ADAL" clId="{79ED0C4E-7D31-4904-9824-CD42FD471766}" dt="2024-04-24T09:51:50.524" v="13308" actId="20577"/>
        <pc:sldMkLst>
          <pc:docMk/>
          <pc:sldMk cId="1050014010" sldId="3231"/>
        </pc:sldMkLst>
        <pc:spChg chg="add mod">
          <ac:chgData name="Pierugo Pace" userId="2226acec-25d1-48aa-b467-65eac8578bef" providerId="ADAL" clId="{79ED0C4E-7D31-4904-9824-CD42FD471766}" dt="2024-04-23T12:34:03.952" v="12817"/>
          <ac:spMkLst>
            <pc:docMk/>
            <pc:sldMk cId="1050014010" sldId="3231"/>
            <ac:spMk id="2" creationId="{3BC25E97-9C25-818F-2E62-9A379D12CB19}"/>
          </ac:spMkLst>
        </pc:spChg>
        <pc:spChg chg="mod">
          <ac:chgData name="Pierugo Pace" userId="2226acec-25d1-48aa-b467-65eac8578bef" providerId="ADAL" clId="{79ED0C4E-7D31-4904-9824-CD42FD471766}" dt="2024-04-23T12:34:07.149" v="12821" actId="20577"/>
          <ac:spMkLst>
            <pc:docMk/>
            <pc:sldMk cId="1050014010" sldId="3231"/>
            <ac:spMk id="4" creationId="{950C71FA-31D6-E24E-82F0-93559BE56F80}"/>
          </ac:spMkLst>
        </pc:spChg>
        <pc:spChg chg="mod">
          <ac:chgData name="Pierugo Pace" userId="2226acec-25d1-48aa-b467-65eac8578bef" providerId="ADAL" clId="{79ED0C4E-7D31-4904-9824-CD42FD471766}" dt="2024-04-19T15:28:45.895" v="10462" actId="20577"/>
          <ac:spMkLst>
            <pc:docMk/>
            <pc:sldMk cId="1050014010" sldId="3231"/>
            <ac:spMk id="5" creationId="{EC1D3909-932D-1C4E-9F8F-1E77B13BBB30}"/>
          </ac:spMkLst>
        </pc:spChg>
        <pc:spChg chg="mod">
          <ac:chgData name="Pierugo Pace" userId="2226acec-25d1-48aa-b467-65eac8578bef" providerId="ADAL" clId="{79ED0C4E-7D31-4904-9824-CD42FD471766}" dt="2024-04-22T15:39:19.066" v="12513" actId="20577"/>
          <ac:spMkLst>
            <pc:docMk/>
            <pc:sldMk cId="1050014010" sldId="3231"/>
            <ac:spMk id="8" creationId="{00000000-0000-0000-0000-000000000000}"/>
          </ac:spMkLst>
        </pc:spChg>
        <pc:spChg chg="mod">
          <ac:chgData name="Pierugo Pace" userId="2226acec-25d1-48aa-b467-65eac8578bef" providerId="ADAL" clId="{79ED0C4E-7D31-4904-9824-CD42FD471766}" dt="2024-04-24T09:51:50.524" v="13308" actId="20577"/>
          <ac:spMkLst>
            <pc:docMk/>
            <pc:sldMk cId="1050014010" sldId="3231"/>
            <ac:spMk id="9" creationId="{00000000-0000-0000-0000-000000000000}"/>
          </ac:spMkLst>
        </pc:spChg>
      </pc:sldChg>
      <pc:sldChg chg="modSp del mod modAnim modNotesTx">
        <pc:chgData name="Pierugo Pace" userId="2226acec-25d1-48aa-b467-65eac8578bef" providerId="ADAL" clId="{79ED0C4E-7D31-4904-9824-CD42FD471766}" dt="2024-04-19T15:27:42.101" v="10446" actId="2696"/>
        <pc:sldMkLst>
          <pc:docMk/>
          <pc:sldMk cId="1513775879" sldId="3231"/>
        </pc:sldMkLst>
        <pc:spChg chg="mod">
          <ac:chgData name="Pierugo Pace" userId="2226acec-25d1-48aa-b467-65eac8578bef" providerId="ADAL" clId="{79ED0C4E-7D31-4904-9824-CD42FD471766}" dt="2024-04-18T09:15:02.840" v="1296" actId="20577"/>
          <ac:spMkLst>
            <pc:docMk/>
            <pc:sldMk cId="1513775879" sldId="3231"/>
            <ac:spMk id="9" creationId="{00000000-0000-0000-0000-000000000000}"/>
          </ac:spMkLst>
        </pc:spChg>
      </pc:sldChg>
      <pc:sldChg chg="del">
        <pc:chgData name="Pierugo Pace" userId="2226acec-25d1-48aa-b467-65eac8578bef" providerId="ADAL" clId="{79ED0C4E-7D31-4904-9824-CD42FD471766}" dt="2024-04-19T09:47:54.372" v="7974" actId="47"/>
        <pc:sldMkLst>
          <pc:docMk/>
          <pc:sldMk cId="3726665869" sldId="3232"/>
        </pc:sldMkLst>
      </pc:sldChg>
      <pc:sldChg chg="modSp add del mod ord modAnim modShow">
        <pc:chgData name="Pierugo Pace" userId="2226acec-25d1-48aa-b467-65eac8578bef" providerId="ADAL" clId="{79ED0C4E-7D31-4904-9824-CD42FD471766}" dt="2024-04-23T12:35:40.542" v="12841"/>
        <pc:sldMkLst>
          <pc:docMk/>
          <pc:sldMk cId="2857221456" sldId="3233"/>
        </pc:sldMkLst>
        <pc:spChg chg="mod">
          <ac:chgData name="Pierugo Pace" userId="2226acec-25d1-48aa-b467-65eac8578bef" providerId="ADAL" clId="{79ED0C4E-7D31-4904-9824-CD42FD471766}" dt="2024-04-19T15:28:06.647" v="10450" actId="20577"/>
          <ac:spMkLst>
            <pc:docMk/>
            <pc:sldMk cId="2857221456" sldId="3233"/>
            <ac:spMk id="8" creationId="{00000000-0000-0000-0000-000000000000}"/>
          </ac:spMkLst>
        </pc:spChg>
      </pc:sldChg>
      <pc:sldChg chg="addSp delSp modSp mod addAnim delAnim modAnim">
        <pc:chgData name="Pierugo Pace" userId="2226acec-25d1-48aa-b467-65eac8578bef" providerId="ADAL" clId="{79ED0C4E-7D31-4904-9824-CD42FD471766}" dt="2024-04-23T12:34:26.722" v="12827" actId="20577"/>
        <pc:sldMkLst>
          <pc:docMk/>
          <pc:sldMk cId="2826318917" sldId="3234"/>
        </pc:sldMkLst>
        <pc:spChg chg="add mod">
          <ac:chgData name="Pierugo Pace" userId="2226acec-25d1-48aa-b467-65eac8578bef" providerId="ADAL" clId="{79ED0C4E-7D31-4904-9824-CD42FD471766}" dt="2024-04-23T12:34:26.722" v="12827" actId="20577"/>
          <ac:spMkLst>
            <pc:docMk/>
            <pc:sldMk cId="2826318917" sldId="3234"/>
            <ac:spMk id="2" creationId="{BA119184-1540-62EF-F988-021C508314C0}"/>
          </ac:spMkLst>
        </pc:spChg>
        <pc:spChg chg="mod">
          <ac:chgData name="Pierugo Pace" userId="2226acec-25d1-48aa-b467-65eac8578bef" providerId="ADAL" clId="{79ED0C4E-7D31-4904-9824-CD42FD471766}" dt="2024-04-22T07:29:05.635" v="11846" actId="20577"/>
          <ac:spMkLst>
            <pc:docMk/>
            <pc:sldMk cId="2826318917" sldId="3234"/>
            <ac:spMk id="3" creationId="{8DC4B8A9-87F5-3C46-8C8C-5B396166EEC8}"/>
          </ac:spMkLst>
        </pc:spChg>
        <pc:spChg chg="mod">
          <ac:chgData name="Pierugo Pace" userId="2226acec-25d1-48aa-b467-65eac8578bef" providerId="ADAL" clId="{79ED0C4E-7D31-4904-9824-CD42FD471766}" dt="2024-04-23T12:34:24.913" v="12826" actId="20577"/>
          <ac:spMkLst>
            <pc:docMk/>
            <pc:sldMk cId="2826318917" sldId="3234"/>
            <ac:spMk id="4" creationId="{950C71FA-31D6-E24E-82F0-93559BE56F80}"/>
          </ac:spMkLst>
        </pc:spChg>
        <pc:spChg chg="mod">
          <ac:chgData name="Pierugo Pace" userId="2226acec-25d1-48aa-b467-65eac8578bef" providerId="ADAL" clId="{79ED0C4E-7D31-4904-9824-CD42FD471766}" dt="2024-04-22T15:47:54.850" v="12618" actId="20577"/>
          <ac:spMkLst>
            <pc:docMk/>
            <pc:sldMk cId="2826318917" sldId="3234"/>
            <ac:spMk id="5" creationId="{EC1D3909-932D-1C4E-9F8F-1E77B13BBB30}"/>
          </ac:spMkLst>
        </pc:spChg>
        <pc:spChg chg="mod">
          <ac:chgData name="Pierugo Pace" userId="2226acec-25d1-48aa-b467-65eac8578bef" providerId="ADAL" clId="{79ED0C4E-7D31-4904-9824-CD42FD471766}" dt="2024-04-21T09:24:17.456" v="10752"/>
          <ac:spMkLst>
            <pc:docMk/>
            <pc:sldMk cId="2826318917" sldId="3234"/>
            <ac:spMk id="8" creationId="{0CD3BEC2-432A-58A1-C6D8-34B0A1263194}"/>
          </ac:spMkLst>
        </pc:spChg>
        <pc:grpChg chg="add mod">
          <ac:chgData name="Pierugo Pace" userId="2226acec-25d1-48aa-b467-65eac8578bef" providerId="ADAL" clId="{79ED0C4E-7D31-4904-9824-CD42FD471766}" dt="2024-04-21T09:24:17.456" v="10752"/>
          <ac:grpSpMkLst>
            <pc:docMk/>
            <pc:sldMk cId="2826318917" sldId="3234"/>
            <ac:grpSpMk id="2" creationId="{6FE6011B-B850-37E6-C0AB-63D3E961A80C}"/>
          </ac:grpSpMkLst>
        </pc:grpChg>
        <pc:picChg chg="add del mod ord">
          <ac:chgData name="Pierugo Pace" userId="2226acec-25d1-48aa-b467-65eac8578bef" providerId="ADAL" clId="{79ED0C4E-7D31-4904-9824-CD42FD471766}" dt="2024-04-19T15:38:58.260" v="10662" actId="478"/>
          <ac:picMkLst>
            <pc:docMk/>
            <pc:sldMk cId="2826318917" sldId="3234"/>
            <ac:picMk id="2" creationId="{717A6D6D-AAA2-CFED-9873-97ECE5E5D39C}"/>
          </ac:picMkLst>
        </pc:picChg>
        <pc:picChg chg="add del mod">
          <ac:chgData name="Pierugo Pace" userId="2226acec-25d1-48aa-b467-65eac8578bef" providerId="ADAL" clId="{79ED0C4E-7D31-4904-9824-CD42FD471766}" dt="2024-04-21T09:24:29.955" v="10756" actId="478"/>
          <ac:picMkLst>
            <pc:docMk/>
            <pc:sldMk cId="2826318917" sldId="3234"/>
            <ac:picMk id="6" creationId="{B2C4C198-0E68-BCEF-1AE2-2CD9C883EDA3}"/>
          </ac:picMkLst>
        </pc:picChg>
        <pc:picChg chg="mod">
          <ac:chgData name="Pierugo Pace" userId="2226acec-25d1-48aa-b467-65eac8578bef" providerId="ADAL" clId="{79ED0C4E-7D31-4904-9824-CD42FD471766}" dt="2024-04-21T09:24:17.456" v="10752"/>
          <ac:picMkLst>
            <pc:docMk/>
            <pc:sldMk cId="2826318917" sldId="3234"/>
            <ac:picMk id="7" creationId="{99C484FF-C7B3-085C-E81F-DB554AF27F7A}"/>
          </ac:picMkLst>
        </pc:picChg>
      </pc:sldChg>
      <pc:sldChg chg="add del">
        <pc:chgData name="Pierugo Pace" userId="2226acec-25d1-48aa-b467-65eac8578bef" providerId="ADAL" clId="{79ED0C4E-7D31-4904-9824-CD42FD471766}" dt="2024-04-18T13:28:17.648" v="3376" actId="47"/>
        <pc:sldMkLst>
          <pc:docMk/>
          <pc:sldMk cId="32872301" sldId="3235"/>
        </pc:sldMkLst>
      </pc:sldChg>
      <pc:sldChg chg="addSp delSp modSp add mod modAnim">
        <pc:chgData name="Pierugo Pace" userId="2226acec-25d1-48aa-b467-65eac8578bef" providerId="ADAL" clId="{79ED0C4E-7D31-4904-9824-CD42FD471766}" dt="2024-04-22T06:39:53.107" v="11474"/>
        <pc:sldMkLst>
          <pc:docMk/>
          <pc:sldMk cId="2312541710" sldId="3235"/>
        </pc:sldMkLst>
        <pc:spChg chg="mod">
          <ac:chgData name="Pierugo Pace" userId="2226acec-25d1-48aa-b467-65eac8578bef" providerId="ADAL" clId="{79ED0C4E-7D31-4904-9824-CD42FD471766}" dt="2024-04-18T15:23:49.484" v="3613" actId="1076"/>
          <ac:spMkLst>
            <pc:docMk/>
            <pc:sldMk cId="2312541710" sldId="3235"/>
            <ac:spMk id="4" creationId="{950C71FA-31D6-E24E-82F0-93559BE56F80}"/>
          </ac:spMkLst>
        </pc:spChg>
        <pc:spChg chg="del">
          <ac:chgData name="Pierugo Pace" userId="2226acec-25d1-48aa-b467-65eac8578bef" providerId="ADAL" clId="{79ED0C4E-7D31-4904-9824-CD42FD471766}" dt="2024-04-18T15:21:20.520" v="3586" actId="478"/>
          <ac:spMkLst>
            <pc:docMk/>
            <pc:sldMk cId="2312541710" sldId="3235"/>
            <ac:spMk id="5" creationId="{EC1D3909-932D-1C4E-9F8F-1E77B13BBB30}"/>
          </ac:spMkLst>
        </pc:spChg>
        <pc:spChg chg="add del mod">
          <ac:chgData name="Pierugo Pace" userId="2226acec-25d1-48aa-b467-65eac8578bef" providerId="ADAL" clId="{79ED0C4E-7D31-4904-9824-CD42FD471766}" dt="2024-04-18T15:30:24.933" v="3747" actId="478"/>
          <ac:spMkLst>
            <pc:docMk/>
            <pc:sldMk cId="2312541710" sldId="3235"/>
            <ac:spMk id="7" creationId="{CF3C432C-AD15-9AD3-AC31-D0C19E633EE5}"/>
          </ac:spMkLst>
        </pc:spChg>
        <pc:spChg chg="mod">
          <ac:chgData name="Pierugo Pace" userId="2226acec-25d1-48aa-b467-65eac8578bef" providerId="ADAL" clId="{79ED0C4E-7D31-4904-9824-CD42FD471766}" dt="2024-04-21T09:24:08.868" v="10750"/>
          <ac:spMkLst>
            <pc:docMk/>
            <pc:sldMk cId="2312541710" sldId="3235"/>
            <ac:spMk id="7" creationId="{E51C222B-3E9F-648A-1722-8D753ECDB466}"/>
          </ac:spMkLst>
        </pc:spChg>
        <pc:spChg chg="mod">
          <ac:chgData name="Pierugo Pace" userId="2226acec-25d1-48aa-b467-65eac8578bef" providerId="ADAL" clId="{79ED0C4E-7D31-4904-9824-CD42FD471766}" dt="2024-04-22T06:39:53.107" v="11474"/>
          <ac:spMkLst>
            <pc:docMk/>
            <pc:sldMk cId="2312541710" sldId="3235"/>
            <ac:spMk id="8" creationId="{F35F4F18-BD98-231D-D823-AD8CB007B08C}"/>
          </ac:spMkLst>
        </pc:spChg>
        <pc:spChg chg="add del mod">
          <ac:chgData name="Pierugo Pace" userId="2226acec-25d1-48aa-b467-65eac8578bef" providerId="ADAL" clId="{79ED0C4E-7D31-4904-9824-CD42FD471766}" dt="2024-04-18T15:30:28.117" v="3749" actId="478"/>
          <ac:spMkLst>
            <pc:docMk/>
            <pc:sldMk cId="2312541710" sldId="3235"/>
            <ac:spMk id="9" creationId="{F99C1A6C-8B30-352C-9F84-E851FF658E83}"/>
          </ac:spMkLst>
        </pc:spChg>
        <pc:spChg chg="del">
          <ac:chgData name="Pierugo Pace" userId="2226acec-25d1-48aa-b467-65eac8578bef" providerId="ADAL" clId="{79ED0C4E-7D31-4904-9824-CD42FD471766}" dt="2024-04-18T15:21:22.611" v="3587" actId="478"/>
          <ac:spMkLst>
            <pc:docMk/>
            <pc:sldMk cId="2312541710" sldId="3235"/>
            <ac:spMk id="10" creationId="{00000000-0000-0000-0000-000000000000}"/>
          </ac:spMkLst>
        </pc:spChg>
        <pc:spChg chg="del">
          <ac:chgData name="Pierugo Pace" userId="2226acec-25d1-48aa-b467-65eac8578bef" providerId="ADAL" clId="{79ED0C4E-7D31-4904-9824-CD42FD471766}" dt="2024-04-18T15:21:24.197" v="3588" actId="478"/>
          <ac:spMkLst>
            <pc:docMk/>
            <pc:sldMk cId="2312541710" sldId="3235"/>
            <ac:spMk id="11" creationId="{00000000-0000-0000-0000-000000000000}"/>
          </ac:spMkLst>
        </pc:spChg>
        <pc:spChg chg="del">
          <ac:chgData name="Pierugo Pace" userId="2226acec-25d1-48aa-b467-65eac8578bef" providerId="ADAL" clId="{79ED0C4E-7D31-4904-9824-CD42FD471766}" dt="2024-04-18T15:21:26.049" v="3589" actId="478"/>
          <ac:spMkLst>
            <pc:docMk/>
            <pc:sldMk cId="2312541710" sldId="3235"/>
            <ac:spMk id="12" creationId="{00000000-0000-0000-0000-000000000000}"/>
          </ac:spMkLst>
        </pc:spChg>
        <pc:spChg chg="del">
          <ac:chgData name="Pierugo Pace" userId="2226acec-25d1-48aa-b467-65eac8578bef" providerId="ADAL" clId="{79ED0C4E-7D31-4904-9824-CD42FD471766}" dt="2024-04-18T15:21:27.291" v="3590" actId="478"/>
          <ac:spMkLst>
            <pc:docMk/>
            <pc:sldMk cId="2312541710" sldId="3235"/>
            <ac:spMk id="14" creationId="{00000000-0000-0000-0000-000000000000}"/>
          </ac:spMkLst>
        </pc:spChg>
        <pc:spChg chg="del">
          <ac:chgData name="Pierugo Pace" userId="2226acec-25d1-48aa-b467-65eac8578bef" providerId="ADAL" clId="{79ED0C4E-7D31-4904-9824-CD42FD471766}" dt="2024-04-18T15:21:28.426" v="3591" actId="478"/>
          <ac:spMkLst>
            <pc:docMk/>
            <pc:sldMk cId="2312541710" sldId="3235"/>
            <ac:spMk id="15" creationId="{00000000-0000-0000-0000-000000000000}"/>
          </ac:spMkLst>
        </pc:spChg>
        <pc:spChg chg="add del mod">
          <ac:chgData name="Pierugo Pace" userId="2226acec-25d1-48aa-b467-65eac8578bef" providerId="ADAL" clId="{79ED0C4E-7D31-4904-9824-CD42FD471766}" dt="2024-04-18T15:30:27.159" v="3748" actId="478"/>
          <ac:spMkLst>
            <pc:docMk/>
            <pc:sldMk cId="2312541710" sldId="3235"/>
            <ac:spMk id="17" creationId="{54E8C581-A38F-93CA-27D4-1CD03A624181}"/>
          </ac:spMkLst>
        </pc:spChg>
        <pc:spChg chg="add del mod">
          <ac:chgData name="Pierugo Pace" userId="2226acec-25d1-48aa-b467-65eac8578bef" providerId="ADAL" clId="{79ED0C4E-7D31-4904-9824-CD42FD471766}" dt="2024-04-18T15:30:29.013" v="3750" actId="478"/>
          <ac:spMkLst>
            <pc:docMk/>
            <pc:sldMk cId="2312541710" sldId="3235"/>
            <ac:spMk id="19" creationId="{C32D664F-ED4E-363E-17AE-D0B4F3223B69}"/>
          </ac:spMkLst>
        </pc:spChg>
        <pc:spChg chg="add del mod">
          <ac:chgData name="Pierugo Pace" userId="2226acec-25d1-48aa-b467-65eac8578bef" providerId="ADAL" clId="{79ED0C4E-7D31-4904-9824-CD42FD471766}" dt="2024-04-18T15:30:29.912" v="3751" actId="478"/>
          <ac:spMkLst>
            <pc:docMk/>
            <pc:sldMk cId="2312541710" sldId="3235"/>
            <ac:spMk id="24" creationId="{98C04308-659A-A86A-0F7E-1CFE67F41546}"/>
          </ac:spMkLst>
        </pc:spChg>
        <pc:spChg chg="add del mod">
          <ac:chgData name="Pierugo Pace" userId="2226acec-25d1-48aa-b467-65eac8578bef" providerId="ADAL" clId="{79ED0C4E-7D31-4904-9824-CD42FD471766}" dt="2024-04-18T15:30:30.457" v="3752" actId="478"/>
          <ac:spMkLst>
            <pc:docMk/>
            <pc:sldMk cId="2312541710" sldId="3235"/>
            <ac:spMk id="28" creationId="{A9671327-7E0F-6EEE-C3FB-A94C97A2C38A}"/>
          </ac:spMkLst>
        </pc:spChg>
        <pc:spChg chg="mod">
          <ac:chgData name="Pierugo Pace" userId="2226acec-25d1-48aa-b467-65eac8578bef" providerId="ADAL" clId="{79ED0C4E-7D31-4904-9824-CD42FD471766}" dt="2024-04-19T10:23:34.751" v="8314" actId="165"/>
          <ac:spMkLst>
            <pc:docMk/>
            <pc:sldMk cId="2312541710" sldId="3235"/>
            <ac:spMk id="31" creationId="{BCDC990E-B36C-ADEB-5D84-64BE6A1D91B8}"/>
          </ac:spMkLst>
        </pc:spChg>
        <pc:spChg chg="mod">
          <ac:chgData name="Pierugo Pace" userId="2226acec-25d1-48aa-b467-65eac8578bef" providerId="ADAL" clId="{79ED0C4E-7D31-4904-9824-CD42FD471766}" dt="2024-04-19T10:23:34.751" v="8314" actId="165"/>
          <ac:spMkLst>
            <pc:docMk/>
            <pc:sldMk cId="2312541710" sldId="3235"/>
            <ac:spMk id="32" creationId="{968681E6-CBCD-8CB6-6316-34911F677F45}"/>
          </ac:spMkLst>
        </pc:spChg>
        <pc:spChg chg="mod">
          <ac:chgData name="Pierugo Pace" userId="2226acec-25d1-48aa-b467-65eac8578bef" providerId="ADAL" clId="{79ED0C4E-7D31-4904-9824-CD42FD471766}" dt="2024-04-19T10:23:34.751" v="8314" actId="165"/>
          <ac:spMkLst>
            <pc:docMk/>
            <pc:sldMk cId="2312541710" sldId="3235"/>
            <ac:spMk id="33" creationId="{304E2DD1-CDD4-4480-E2CF-9E99EFF908B9}"/>
          </ac:spMkLst>
        </pc:spChg>
        <pc:spChg chg="mod">
          <ac:chgData name="Pierugo Pace" userId="2226acec-25d1-48aa-b467-65eac8578bef" providerId="ADAL" clId="{79ED0C4E-7D31-4904-9824-CD42FD471766}" dt="2024-04-19T10:23:34.751" v="8314" actId="165"/>
          <ac:spMkLst>
            <pc:docMk/>
            <pc:sldMk cId="2312541710" sldId="3235"/>
            <ac:spMk id="34" creationId="{652A091B-B8E8-84D9-6E3F-87227002CED0}"/>
          </ac:spMkLst>
        </pc:spChg>
        <pc:spChg chg="mod">
          <ac:chgData name="Pierugo Pace" userId="2226acec-25d1-48aa-b467-65eac8578bef" providerId="ADAL" clId="{79ED0C4E-7D31-4904-9824-CD42FD471766}" dt="2024-04-19T10:23:34.751" v="8314" actId="165"/>
          <ac:spMkLst>
            <pc:docMk/>
            <pc:sldMk cId="2312541710" sldId="3235"/>
            <ac:spMk id="35" creationId="{D95B7C00-23D6-416A-0AE9-9724568E47D6}"/>
          </ac:spMkLst>
        </pc:spChg>
        <pc:grpChg chg="add mod">
          <ac:chgData name="Pierugo Pace" userId="2226acec-25d1-48aa-b467-65eac8578bef" providerId="ADAL" clId="{79ED0C4E-7D31-4904-9824-CD42FD471766}" dt="2024-04-22T06:39:53.107" v="11474"/>
          <ac:grpSpMkLst>
            <pc:docMk/>
            <pc:sldMk cId="2312541710" sldId="3235"/>
            <ac:grpSpMk id="2" creationId="{E0AC091D-FE97-F966-F7CF-46C81C0B6762}"/>
          </ac:grpSpMkLst>
        </pc:grpChg>
        <pc:grpChg chg="add del mod">
          <ac:chgData name="Pierugo Pace" userId="2226acec-25d1-48aa-b467-65eac8578bef" providerId="ADAL" clId="{79ED0C4E-7D31-4904-9824-CD42FD471766}" dt="2024-04-22T06:39:52.863" v="11473" actId="478"/>
          <ac:grpSpMkLst>
            <pc:docMk/>
            <pc:sldMk cId="2312541710" sldId="3235"/>
            <ac:grpSpMk id="5" creationId="{332A560B-6047-24F5-2AF7-7C2AE5E11FAA}"/>
          </ac:grpSpMkLst>
        </pc:grpChg>
        <pc:grpChg chg="del">
          <ac:chgData name="Pierugo Pace" userId="2226acec-25d1-48aa-b467-65eac8578bef" providerId="ADAL" clId="{79ED0C4E-7D31-4904-9824-CD42FD471766}" dt="2024-04-18T15:30:15.452" v="3743" actId="478"/>
          <ac:grpSpMkLst>
            <pc:docMk/>
            <pc:sldMk cId="2312541710" sldId="3235"/>
            <ac:grpSpMk id="6" creationId="{615A6F53-191D-ECF0-19FA-DA28BAD889C9}"/>
          </ac:grpSpMkLst>
        </pc:grpChg>
        <pc:grpChg chg="add mod topLvl">
          <ac:chgData name="Pierugo Pace" userId="2226acec-25d1-48aa-b467-65eac8578bef" providerId="ADAL" clId="{79ED0C4E-7D31-4904-9824-CD42FD471766}" dt="2024-04-19T10:23:34.751" v="8314" actId="165"/>
          <ac:grpSpMkLst>
            <pc:docMk/>
            <pc:sldMk cId="2312541710" sldId="3235"/>
            <ac:grpSpMk id="29" creationId="{C68C45EC-F54C-5FFE-B50C-02E5BF9FE46F}"/>
          </ac:grpSpMkLst>
        </pc:grpChg>
        <pc:grpChg chg="add del mod">
          <ac:chgData name="Pierugo Pace" userId="2226acec-25d1-48aa-b467-65eac8578bef" providerId="ADAL" clId="{79ED0C4E-7D31-4904-9824-CD42FD471766}" dt="2024-04-18T15:39:11.287" v="3875" actId="165"/>
          <ac:grpSpMkLst>
            <pc:docMk/>
            <pc:sldMk cId="2312541710" sldId="3235"/>
            <ac:grpSpMk id="42" creationId="{B1EBF74A-1C5D-5575-65B8-77B3EB0E16F9}"/>
          </ac:grpSpMkLst>
        </pc:grpChg>
        <pc:grpChg chg="add del mod">
          <ac:chgData name="Pierugo Pace" userId="2226acec-25d1-48aa-b467-65eac8578bef" providerId="ADAL" clId="{79ED0C4E-7D31-4904-9824-CD42FD471766}" dt="2024-04-19T10:23:34.751" v="8314" actId="165"/>
          <ac:grpSpMkLst>
            <pc:docMk/>
            <pc:sldMk cId="2312541710" sldId="3235"/>
            <ac:grpSpMk id="43" creationId="{8E84FC36-624D-7530-4924-01C14A94FCCC}"/>
          </ac:grpSpMkLst>
        </pc:grpChg>
        <pc:picChg chg="add mod">
          <ac:chgData name="Pierugo Pace" userId="2226acec-25d1-48aa-b467-65eac8578bef" providerId="ADAL" clId="{79ED0C4E-7D31-4904-9824-CD42FD471766}" dt="2024-04-21T09:21:10.421" v="10715"/>
          <ac:picMkLst>
            <pc:docMk/>
            <pc:sldMk cId="2312541710" sldId="3235"/>
            <ac:picMk id="2" creationId="{B23315FB-4EA4-07EF-507B-0EFD64DD3876}"/>
          </ac:picMkLst>
        </pc:picChg>
        <pc:picChg chg="add del mod">
          <ac:chgData name="Pierugo Pace" userId="2226acec-25d1-48aa-b467-65eac8578bef" providerId="ADAL" clId="{79ED0C4E-7D31-4904-9824-CD42FD471766}" dt="2024-04-21T09:24:08.603" v="10749" actId="478"/>
          <ac:picMkLst>
            <pc:docMk/>
            <pc:sldMk cId="2312541710" sldId="3235"/>
            <ac:picMk id="3" creationId="{669155F4-AFE5-C1FF-93AC-D52F8406BA49}"/>
          </ac:picMkLst>
        </pc:picChg>
        <pc:picChg chg="mod">
          <ac:chgData name="Pierugo Pace" userId="2226acec-25d1-48aa-b467-65eac8578bef" providerId="ADAL" clId="{79ED0C4E-7D31-4904-9824-CD42FD471766}" dt="2024-04-22T06:39:53.107" v="11474"/>
          <ac:picMkLst>
            <pc:docMk/>
            <pc:sldMk cId="2312541710" sldId="3235"/>
            <ac:picMk id="3" creationId="{826E8D19-161C-D503-824C-C9D999216F8B}"/>
          </ac:picMkLst>
        </pc:picChg>
        <pc:picChg chg="mod">
          <ac:chgData name="Pierugo Pace" userId="2226acec-25d1-48aa-b467-65eac8578bef" providerId="ADAL" clId="{79ED0C4E-7D31-4904-9824-CD42FD471766}" dt="2024-04-21T09:24:08.868" v="10750"/>
          <ac:picMkLst>
            <pc:docMk/>
            <pc:sldMk cId="2312541710" sldId="3235"/>
            <ac:picMk id="6" creationId="{C7C4DDD1-87DB-D78C-0971-182E687C9A02}"/>
          </ac:picMkLst>
        </pc:picChg>
        <pc:picChg chg="mod">
          <ac:chgData name="Pierugo Pace" userId="2226acec-25d1-48aa-b467-65eac8578bef" providerId="ADAL" clId="{79ED0C4E-7D31-4904-9824-CD42FD471766}" dt="2024-04-19T10:23:34.751" v="8314" actId="165"/>
          <ac:picMkLst>
            <pc:docMk/>
            <pc:sldMk cId="2312541710" sldId="3235"/>
            <ac:picMk id="30" creationId="{56D493A6-F826-2EC9-14A3-5C1E757C50AC}"/>
          </ac:picMkLst>
        </pc:picChg>
        <pc:picChg chg="add mod ord">
          <ac:chgData name="Pierugo Pace" userId="2226acec-25d1-48aa-b467-65eac8578bef" providerId="ADAL" clId="{79ED0C4E-7D31-4904-9824-CD42FD471766}" dt="2024-04-18T15:41:02.974" v="3896" actId="1076"/>
          <ac:picMkLst>
            <pc:docMk/>
            <pc:sldMk cId="2312541710" sldId="3235"/>
            <ac:picMk id="36" creationId="{26B5BD31-4D3B-8EF4-ECFA-C48732842FD0}"/>
          </ac:picMkLst>
        </pc:picChg>
        <pc:picChg chg="add mod topLvl modCrop">
          <ac:chgData name="Pierugo Pace" userId="2226acec-25d1-48aa-b467-65eac8578bef" providerId="ADAL" clId="{79ED0C4E-7D31-4904-9824-CD42FD471766}" dt="2024-04-19T10:23:34.751" v="8314" actId="165"/>
          <ac:picMkLst>
            <pc:docMk/>
            <pc:sldMk cId="2312541710" sldId="3235"/>
            <ac:picMk id="37" creationId="{2AEC1371-5EA3-87C0-FF36-914060D57C1A}"/>
          </ac:picMkLst>
        </pc:picChg>
        <pc:picChg chg="add mod topLvl modCrop">
          <ac:chgData name="Pierugo Pace" userId="2226acec-25d1-48aa-b467-65eac8578bef" providerId="ADAL" clId="{79ED0C4E-7D31-4904-9824-CD42FD471766}" dt="2024-04-19T10:23:34.751" v="8314" actId="165"/>
          <ac:picMkLst>
            <pc:docMk/>
            <pc:sldMk cId="2312541710" sldId="3235"/>
            <ac:picMk id="38" creationId="{C88C8E00-9717-1BFB-49C9-849CB6BDF8B6}"/>
          </ac:picMkLst>
        </pc:picChg>
        <pc:picChg chg="add mod topLvl modCrop">
          <ac:chgData name="Pierugo Pace" userId="2226acec-25d1-48aa-b467-65eac8578bef" providerId="ADAL" clId="{79ED0C4E-7D31-4904-9824-CD42FD471766}" dt="2024-04-19T10:23:34.751" v="8314" actId="165"/>
          <ac:picMkLst>
            <pc:docMk/>
            <pc:sldMk cId="2312541710" sldId="3235"/>
            <ac:picMk id="39" creationId="{5E914749-4B97-AC26-7A68-5A983539D6FF}"/>
          </ac:picMkLst>
        </pc:picChg>
        <pc:picChg chg="add mod topLvl modCrop">
          <ac:chgData name="Pierugo Pace" userId="2226acec-25d1-48aa-b467-65eac8578bef" providerId="ADAL" clId="{79ED0C4E-7D31-4904-9824-CD42FD471766}" dt="2024-04-19T10:23:34.751" v="8314" actId="165"/>
          <ac:picMkLst>
            <pc:docMk/>
            <pc:sldMk cId="2312541710" sldId="3235"/>
            <ac:picMk id="40" creationId="{AE79403C-AC01-A5A2-D7C6-9D55B11D806D}"/>
          </ac:picMkLst>
        </pc:picChg>
        <pc:picChg chg="add mod topLvl modCrop">
          <ac:chgData name="Pierugo Pace" userId="2226acec-25d1-48aa-b467-65eac8578bef" providerId="ADAL" clId="{79ED0C4E-7D31-4904-9824-CD42FD471766}" dt="2024-04-19T10:23:34.751" v="8314" actId="165"/>
          <ac:picMkLst>
            <pc:docMk/>
            <pc:sldMk cId="2312541710" sldId="3235"/>
            <ac:picMk id="41" creationId="{845BBF08-7BD6-5A1D-71C1-E18060B11778}"/>
          </ac:picMkLst>
        </pc:picChg>
      </pc:sldChg>
      <pc:sldChg chg="addSp delSp modSp add del mod">
        <pc:chgData name="Pierugo Pace" userId="2226acec-25d1-48aa-b467-65eac8578bef" providerId="ADAL" clId="{79ED0C4E-7D31-4904-9824-CD42FD471766}" dt="2024-04-19T08:24:39.586" v="6211" actId="47"/>
        <pc:sldMkLst>
          <pc:docMk/>
          <pc:sldMk cId="3463004916" sldId="3236"/>
        </pc:sldMkLst>
        <pc:spChg chg="mod">
          <ac:chgData name="Pierugo Pace" userId="2226acec-25d1-48aa-b467-65eac8578bef" providerId="ADAL" clId="{79ED0C4E-7D31-4904-9824-CD42FD471766}" dt="2024-04-19T07:38:59.403" v="5477" actId="20577"/>
          <ac:spMkLst>
            <pc:docMk/>
            <pc:sldMk cId="3463004916" sldId="3236"/>
            <ac:spMk id="4" creationId="{950C71FA-31D6-E24E-82F0-93559BE56F80}"/>
          </ac:spMkLst>
        </pc:spChg>
        <pc:spChg chg="mod topLvl">
          <ac:chgData name="Pierugo Pace" userId="2226acec-25d1-48aa-b467-65eac8578bef" providerId="ADAL" clId="{79ED0C4E-7D31-4904-9824-CD42FD471766}" dt="2024-04-19T07:52:53.737" v="5707" actId="115"/>
          <ac:spMkLst>
            <pc:docMk/>
            <pc:sldMk cId="3463004916" sldId="3236"/>
            <ac:spMk id="5" creationId="{AF3DDC28-104D-2BA7-A26F-8E33F80AD552}"/>
          </ac:spMkLst>
        </pc:spChg>
        <pc:spChg chg="del mod">
          <ac:chgData name="Pierugo Pace" userId="2226acec-25d1-48aa-b467-65eac8578bef" providerId="ADAL" clId="{79ED0C4E-7D31-4904-9824-CD42FD471766}" dt="2024-04-19T07:50:28.993" v="5685" actId="478"/>
          <ac:spMkLst>
            <pc:docMk/>
            <pc:sldMk cId="3463004916" sldId="3236"/>
            <ac:spMk id="6" creationId="{1BD601FE-CF90-5638-BF80-7AA3F5944B3C}"/>
          </ac:spMkLst>
        </pc:spChg>
        <pc:spChg chg="mod topLvl">
          <ac:chgData name="Pierugo Pace" userId="2226acec-25d1-48aa-b467-65eac8578bef" providerId="ADAL" clId="{79ED0C4E-7D31-4904-9824-CD42FD471766}" dt="2024-04-19T07:56:02.510" v="5767" actId="164"/>
          <ac:spMkLst>
            <pc:docMk/>
            <pc:sldMk cId="3463004916" sldId="3236"/>
            <ac:spMk id="9" creationId="{9401648A-8194-4C82-4275-4D11F7E0D0E3}"/>
          </ac:spMkLst>
        </pc:spChg>
        <pc:spChg chg="mod topLvl">
          <ac:chgData name="Pierugo Pace" userId="2226acec-25d1-48aa-b467-65eac8578bef" providerId="ADAL" clId="{79ED0C4E-7D31-4904-9824-CD42FD471766}" dt="2024-04-19T07:56:02.510" v="5767" actId="164"/>
          <ac:spMkLst>
            <pc:docMk/>
            <pc:sldMk cId="3463004916" sldId="3236"/>
            <ac:spMk id="10" creationId="{1DD008B5-7186-F447-8344-8E4271EC6C79}"/>
          </ac:spMkLst>
        </pc:spChg>
        <pc:spChg chg="del">
          <ac:chgData name="Pierugo Pace" userId="2226acec-25d1-48aa-b467-65eac8578bef" providerId="ADAL" clId="{79ED0C4E-7D31-4904-9824-CD42FD471766}" dt="2024-04-19T07:40:02.510" v="5484" actId="478"/>
          <ac:spMkLst>
            <pc:docMk/>
            <pc:sldMk cId="3463004916" sldId="3236"/>
            <ac:spMk id="15" creationId="{0AA244E6-6E9E-6A61-3C9C-308705E08EAB}"/>
          </ac:spMkLst>
        </pc:spChg>
        <pc:spChg chg="add mod">
          <ac:chgData name="Pierugo Pace" userId="2226acec-25d1-48aa-b467-65eac8578bef" providerId="ADAL" clId="{79ED0C4E-7D31-4904-9824-CD42FD471766}" dt="2024-04-19T07:56:02.510" v="5767" actId="164"/>
          <ac:spMkLst>
            <pc:docMk/>
            <pc:sldMk cId="3463004916" sldId="3236"/>
            <ac:spMk id="18" creationId="{58B9D963-59C4-D4C9-E7DA-D52320448E91}"/>
          </ac:spMkLst>
        </pc:spChg>
        <pc:spChg chg="mod topLvl">
          <ac:chgData name="Pierugo Pace" userId="2226acec-25d1-48aa-b467-65eac8578bef" providerId="ADAL" clId="{79ED0C4E-7D31-4904-9824-CD42FD471766}" dt="2024-04-19T07:53:10.217" v="5710" actId="164"/>
          <ac:spMkLst>
            <pc:docMk/>
            <pc:sldMk cId="3463004916" sldId="3236"/>
            <ac:spMk id="25" creationId="{03C73148-D670-2D36-6D5D-01F07B9811F3}"/>
          </ac:spMkLst>
        </pc:spChg>
        <pc:spChg chg="mod topLvl">
          <ac:chgData name="Pierugo Pace" userId="2226acec-25d1-48aa-b467-65eac8578bef" providerId="ADAL" clId="{79ED0C4E-7D31-4904-9824-CD42FD471766}" dt="2024-04-19T07:53:10.217" v="5710" actId="164"/>
          <ac:spMkLst>
            <pc:docMk/>
            <pc:sldMk cId="3463004916" sldId="3236"/>
            <ac:spMk id="26" creationId="{5667A943-58BA-2E1E-D55A-033C0DBA63E0}"/>
          </ac:spMkLst>
        </pc:spChg>
        <pc:grpChg chg="add del mod">
          <ac:chgData name="Pierugo Pace" userId="2226acec-25d1-48aa-b467-65eac8578bef" providerId="ADAL" clId="{79ED0C4E-7D31-4904-9824-CD42FD471766}" dt="2024-04-19T07:50:37.529" v="5688" actId="165"/>
          <ac:grpSpMkLst>
            <pc:docMk/>
            <pc:sldMk cId="3463004916" sldId="3236"/>
            <ac:grpSpMk id="2" creationId="{CB1D44C9-6CDE-EF0A-B37F-ECBE40D10F09}"/>
          </ac:grpSpMkLst>
        </pc:grpChg>
        <pc:grpChg chg="add del mod">
          <ac:chgData name="Pierugo Pace" userId="2226acec-25d1-48aa-b467-65eac8578bef" providerId="ADAL" clId="{79ED0C4E-7D31-4904-9824-CD42FD471766}" dt="2024-04-19T07:53:25.972" v="5712" actId="165"/>
          <ac:grpSpMkLst>
            <pc:docMk/>
            <pc:sldMk cId="3463004916" sldId="3236"/>
            <ac:grpSpMk id="7" creationId="{01AF0C95-F0D0-BEA3-6045-DF52FB8EFC7E}"/>
          </ac:grpSpMkLst>
        </pc:grpChg>
        <pc:grpChg chg="add mod">
          <ac:chgData name="Pierugo Pace" userId="2226acec-25d1-48aa-b467-65eac8578bef" providerId="ADAL" clId="{79ED0C4E-7D31-4904-9824-CD42FD471766}" dt="2024-04-19T07:52:59.830" v="5709" actId="1076"/>
          <ac:grpSpMkLst>
            <pc:docMk/>
            <pc:sldMk cId="3463004916" sldId="3236"/>
            <ac:grpSpMk id="11" creationId="{EEAB7587-99C0-838C-BD99-DD0E17A3FEC8}"/>
          </ac:grpSpMkLst>
        </pc:grpChg>
        <pc:grpChg chg="add mod">
          <ac:chgData name="Pierugo Pace" userId="2226acec-25d1-48aa-b467-65eac8578bef" providerId="ADAL" clId="{79ED0C4E-7D31-4904-9824-CD42FD471766}" dt="2024-04-19T07:57:08.917" v="5773" actId="1076"/>
          <ac:grpSpMkLst>
            <pc:docMk/>
            <pc:sldMk cId="3463004916" sldId="3236"/>
            <ac:grpSpMk id="16" creationId="{0C08A0E8-FC32-61D5-880B-10889A235595}"/>
          </ac:grpSpMkLst>
        </pc:grpChg>
        <pc:grpChg chg="add mod">
          <ac:chgData name="Pierugo Pace" userId="2226acec-25d1-48aa-b467-65eac8578bef" providerId="ADAL" clId="{79ED0C4E-7D31-4904-9824-CD42FD471766}" dt="2024-04-19T08:03:52.513" v="5855" actId="1076"/>
          <ac:grpSpMkLst>
            <pc:docMk/>
            <pc:sldMk cId="3463004916" sldId="3236"/>
            <ac:grpSpMk id="19" creationId="{E5E5C3F5-6669-2518-47A5-AE64CA70A7F7}"/>
          </ac:grpSpMkLst>
        </pc:grpChg>
        <pc:grpChg chg="mod">
          <ac:chgData name="Pierugo Pace" userId="2226acec-25d1-48aa-b467-65eac8578bef" providerId="ADAL" clId="{79ED0C4E-7D31-4904-9824-CD42FD471766}" dt="2024-04-19T07:53:15.116" v="5711" actId="1076"/>
          <ac:grpSpMkLst>
            <pc:docMk/>
            <pc:sldMk cId="3463004916" sldId="3236"/>
            <ac:grpSpMk id="34" creationId="{65654C0F-52D8-1BB9-79FE-208D8C7B890E}"/>
          </ac:grpSpMkLst>
        </pc:grpChg>
        <pc:grpChg chg="del">
          <ac:chgData name="Pierugo Pace" userId="2226acec-25d1-48aa-b467-65eac8578bef" providerId="ADAL" clId="{79ED0C4E-7D31-4904-9824-CD42FD471766}" dt="2024-04-19T07:51:59.570" v="5696" actId="165"/>
          <ac:grpSpMkLst>
            <pc:docMk/>
            <pc:sldMk cId="3463004916" sldId="3236"/>
            <ac:grpSpMk id="35" creationId="{6E9FA3B4-A15B-0D51-E0AD-AD1CB0A3F3D1}"/>
          </ac:grpSpMkLst>
        </pc:grpChg>
        <pc:cxnChg chg="mod topLvl">
          <ac:chgData name="Pierugo Pace" userId="2226acec-25d1-48aa-b467-65eac8578bef" providerId="ADAL" clId="{79ED0C4E-7D31-4904-9824-CD42FD471766}" dt="2024-04-19T07:51:13.919" v="5694" actId="164"/>
          <ac:cxnSpMkLst>
            <pc:docMk/>
            <pc:sldMk cId="3463004916" sldId="3236"/>
            <ac:cxnSpMk id="3" creationId="{0926E465-B3BC-D493-C409-01A08394E798}"/>
          </ac:cxnSpMkLst>
        </pc:cxnChg>
        <pc:cxnChg chg="mod">
          <ac:chgData name="Pierugo Pace" userId="2226acec-25d1-48aa-b467-65eac8578bef" providerId="ADAL" clId="{79ED0C4E-7D31-4904-9824-CD42FD471766}" dt="2024-04-19T07:50:07.949" v="5646" actId="14100"/>
          <ac:cxnSpMkLst>
            <pc:docMk/>
            <pc:sldMk cId="3463004916" sldId="3236"/>
            <ac:cxnSpMk id="17" creationId="{0C4A710F-A2D0-C7DB-38B5-A4FA00398C6E}"/>
          </ac:cxnSpMkLst>
        </pc:cxnChg>
        <pc:cxnChg chg="mod">
          <ac:chgData name="Pierugo Pace" userId="2226acec-25d1-48aa-b467-65eac8578bef" providerId="ADAL" clId="{79ED0C4E-7D31-4904-9824-CD42FD471766}" dt="2024-04-19T07:50:15.650" v="5681" actId="14100"/>
          <ac:cxnSpMkLst>
            <pc:docMk/>
            <pc:sldMk cId="3463004916" sldId="3236"/>
            <ac:cxnSpMk id="21" creationId="{CD34B921-F36D-5667-2A24-F85700D12F68}"/>
          </ac:cxnSpMkLst>
        </pc:cxnChg>
        <pc:cxnChg chg="mod topLvl">
          <ac:chgData name="Pierugo Pace" userId="2226acec-25d1-48aa-b467-65eac8578bef" providerId="ADAL" clId="{79ED0C4E-7D31-4904-9824-CD42FD471766}" dt="2024-04-19T07:53:10.217" v="5710" actId="164"/>
          <ac:cxnSpMkLst>
            <pc:docMk/>
            <pc:sldMk cId="3463004916" sldId="3236"/>
            <ac:cxnSpMk id="23" creationId="{767EA9DA-8AB9-44D2-F30B-3A7A9B48FFB3}"/>
          </ac:cxnSpMkLst>
        </pc:cxnChg>
      </pc:sldChg>
      <pc:sldChg chg="addSp delSp modSp add del mod ord modClrScheme chgLayout">
        <pc:chgData name="Pierugo Pace" userId="2226acec-25d1-48aa-b467-65eac8578bef" providerId="ADAL" clId="{79ED0C4E-7D31-4904-9824-CD42FD471766}" dt="2024-04-19T09:45:45.451" v="7922" actId="47"/>
        <pc:sldMkLst>
          <pc:docMk/>
          <pc:sldMk cId="2781284199" sldId="3237"/>
        </pc:sldMkLst>
        <pc:spChg chg="add mod">
          <ac:chgData name="Pierugo Pace" userId="2226acec-25d1-48aa-b467-65eac8578bef" providerId="ADAL" clId="{79ED0C4E-7D31-4904-9824-CD42FD471766}" dt="2024-04-19T08:09:33.150" v="5954"/>
          <ac:spMkLst>
            <pc:docMk/>
            <pc:sldMk cId="2781284199" sldId="3237"/>
            <ac:spMk id="2" creationId="{D4AB51E0-1D1F-758C-56D9-C0E8027BA13E}"/>
          </ac:spMkLst>
        </pc:spChg>
        <pc:spChg chg="add mod">
          <ac:chgData name="Pierugo Pace" userId="2226acec-25d1-48aa-b467-65eac8578bef" providerId="ADAL" clId="{79ED0C4E-7D31-4904-9824-CD42FD471766}" dt="2024-04-19T08:11:13.192" v="6008"/>
          <ac:spMkLst>
            <pc:docMk/>
            <pc:sldMk cId="2781284199" sldId="3237"/>
            <ac:spMk id="3" creationId="{0844BC11-7A09-AF39-9301-BB1BE15C0BE7}"/>
          </ac:spMkLst>
        </pc:spChg>
        <pc:spChg chg="mod ord">
          <ac:chgData name="Pierugo Pace" userId="2226acec-25d1-48aa-b467-65eac8578bef" providerId="ADAL" clId="{79ED0C4E-7D31-4904-9824-CD42FD471766}" dt="2024-04-19T08:09:26.470" v="5952" actId="700"/>
          <ac:spMkLst>
            <pc:docMk/>
            <pc:sldMk cId="2781284199" sldId="3237"/>
            <ac:spMk id="4" creationId="{950C71FA-31D6-E24E-82F0-93559BE56F80}"/>
          </ac:spMkLst>
        </pc:spChg>
        <pc:spChg chg="mod ord">
          <ac:chgData name="Pierugo Pace" userId="2226acec-25d1-48aa-b467-65eac8578bef" providerId="ADAL" clId="{79ED0C4E-7D31-4904-9824-CD42FD471766}" dt="2024-04-19T08:09:26.470" v="5952" actId="700"/>
          <ac:spMkLst>
            <pc:docMk/>
            <pc:sldMk cId="2781284199" sldId="3237"/>
            <ac:spMk id="13" creationId="{446036A9-9307-4558-654B-54BDF927F4BB}"/>
          </ac:spMkLst>
        </pc:spChg>
        <pc:spChg chg="mod ord">
          <ac:chgData name="Pierugo Pace" userId="2226acec-25d1-48aa-b467-65eac8578bef" providerId="ADAL" clId="{79ED0C4E-7D31-4904-9824-CD42FD471766}" dt="2024-04-19T08:09:26.470" v="5952" actId="700"/>
          <ac:spMkLst>
            <pc:docMk/>
            <pc:sldMk cId="2781284199" sldId="3237"/>
            <ac:spMk id="14" creationId="{906A0CD7-1992-4D99-0241-0586C5715EA5}"/>
          </ac:spMkLst>
        </pc:spChg>
        <pc:spChg chg="mod">
          <ac:chgData name="Pierugo Pace" userId="2226acec-25d1-48aa-b467-65eac8578bef" providerId="ADAL" clId="{79ED0C4E-7D31-4904-9824-CD42FD471766}" dt="2024-04-19T08:09:16.557" v="5949" actId="6549"/>
          <ac:spMkLst>
            <pc:docMk/>
            <pc:sldMk cId="2781284199" sldId="3237"/>
            <ac:spMk id="48" creationId="{49C970C4-9377-F6E8-25D7-38A37E92F0E4}"/>
          </ac:spMkLst>
        </pc:spChg>
        <pc:spChg chg="del mod topLvl">
          <ac:chgData name="Pierugo Pace" userId="2226acec-25d1-48aa-b467-65eac8578bef" providerId="ADAL" clId="{79ED0C4E-7D31-4904-9824-CD42FD471766}" dt="2024-04-19T08:09:15.563" v="5948" actId="478"/>
          <ac:spMkLst>
            <pc:docMk/>
            <pc:sldMk cId="2781284199" sldId="3237"/>
            <ac:spMk id="55" creationId="{81352604-8BC4-24E1-6148-E72F8AE08DA5}"/>
          </ac:spMkLst>
        </pc:spChg>
        <pc:spChg chg="del mod topLvl">
          <ac:chgData name="Pierugo Pace" userId="2226acec-25d1-48aa-b467-65eac8578bef" providerId="ADAL" clId="{79ED0C4E-7D31-4904-9824-CD42FD471766}" dt="2024-04-19T08:09:14.421" v="5947" actId="478"/>
          <ac:spMkLst>
            <pc:docMk/>
            <pc:sldMk cId="2781284199" sldId="3237"/>
            <ac:spMk id="56" creationId="{455D138D-9F00-50A6-9C16-2FBDE5B7A69C}"/>
          </ac:spMkLst>
        </pc:spChg>
        <pc:spChg chg="del mod">
          <ac:chgData name="Pierugo Pace" userId="2226acec-25d1-48aa-b467-65eac8578bef" providerId="ADAL" clId="{79ED0C4E-7D31-4904-9824-CD42FD471766}" dt="2024-04-19T08:09:11.899" v="5946" actId="478"/>
          <ac:spMkLst>
            <pc:docMk/>
            <pc:sldMk cId="2781284199" sldId="3237"/>
            <ac:spMk id="57" creationId="{442F5511-BC40-C6FE-F883-F34A4B6E8898}"/>
          </ac:spMkLst>
        </pc:spChg>
        <pc:spChg chg="del">
          <ac:chgData name="Pierugo Pace" userId="2226acec-25d1-48aa-b467-65eac8578bef" providerId="ADAL" clId="{79ED0C4E-7D31-4904-9824-CD42FD471766}" dt="2024-04-19T08:09:10.126" v="5944" actId="478"/>
          <ac:spMkLst>
            <pc:docMk/>
            <pc:sldMk cId="2781284199" sldId="3237"/>
            <ac:spMk id="59" creationId="{A7D56B56-A4B5-3E12-5628-FD8ED8123C10}"/>
          </ac:spMkLst>
        </pc:spChg>
        <pc:spChg chg="del">
          <ac:chgData name="Pierugo Pace" userId="2226acec-25d1-48aa-b467-65eac8578bef" providerId="ADAL" clId="{79ED0C4E-7D31-4904-9824-CD42FD471766}" dt="2024-04-19T08:09:10.126" v="5944" actId="478"/>
          <ac:spMkLst>
            <pc:docMk/>
            <pc:sldMk cId="2781284199" sldId="3237"/>
            <ac:spMk id="60" creationId="{B9775471-4B89-5431-3882-297DB555A703}"/>
          </ac:spMkLst>
        </pc:spChg>
        <pc:grpChg chg="del">
          <ac:chgData name="Pierugo Pace" userId="2226acec-25d1-48aa-b467-65eac8578bef" providerId="ADAL" clId="{79ED0C4E-7D31-4904-9824-CD42FD471766}" dt="2024-04-19T08:09:10.126" v="5944" actId="478"/>
          <ac:grpSpMkLst>
            <pc:docMk/>
            <pc:sldMk cId="2781284199" sldId="3237"/>
            <ac:grpSpMk id="35" creationId="{6E9FA3B4-A15B-0D51-E0AD-AD1CB0A3F3D1}"/>
          </ac:grpSpMkLst>
        </pc:grpChg>
        <pc:grpChg chg="add del">
          <ac:chgData name="Pierugo Pace" userId="2226acec-25d1-48aa-b467-65eac8578bef" providerId="ADAL" clId="{79ED0C4E-7D31-4904-9824-CD42FD471766}" dt="2024-04-19T08:09:34.138" v="5956" actId="478"/>
          <ac:grpSpMkLst>
            <pc:docMk/>
            <pc:sldMk cId="2781284199" sldId="3237"/>
            <ac:grpSpMk id="50" creationId="{B4086317-6184-7BE4-6E51-598BB9E12BF9}"/>
          </ac:grpSpMkLst>
        </pc:grpChg>
        <pc:grpChg chg="del mod">
          <ac:chgData name="Pierugo Pace" userId="2226acec-25d1-48aa-b467-65eac8578bef" providerId="ADAL" clId="{79ED0C4E-7D31-4904-9824-CD42FD471766}" dt="2024-04-19T08:09:14.421" v="5947" actId="478"/>
          <ac:grpSpMkLst>
            <pc:docMk/>
            <pc:sldMk cId="2781284199" sldId="3237"/>
            <ac:grpSpMk id="61" creationId="{F933F146-39A1-69A4-8127-7C0CB1A909F6}"/>
          </ac:grpSpMkLst>
        </pc:grpChg>
        <pc:grpChg chg="del">
          <ac:chgData name="Pierugo Pace" userId="2226acec-25d1-48aa-b467-65eac8578bef" providerId="ADAL" clId="{79ED0C4E-7D31-4904-9824-CD42FD471766}" dt="2024-04-19T08:09:10.126" v="5944" actId="478"/>
          <ac:grpSpMkLst>
            <pc:docMk/>
            <pc:sldMk cId="2781284199" sldId="3237"/>
            <ac:grpSpMk id="62" creationId="{B93625C5-B7B2-98EC-0BA1-C9C888F0D2D3}"/>
          </ac:grpSpMkLst>
        </pc:grpChg>
        <pc:picChg chg="del">
          <ac:chgData name="Pierugo Pace" userId="2226acec-25d1-48aa-b467-65eac8578bef" providerId="ADAL" clId="{79ED0C4E-7D31-4904-9824-CD42FD471766}" dt="2024-04-19T08:09:10.126" v="5944" actId="478"/>
          <ac:picMkLst>
            <pc:docMk/>
            <pc:sldMk cId="2781284199" sldId="3237"/>
            <ac:picMk id="8" creationId="{D7E08ABB-385F-C5CA-39D0-93E090B72348}"/>
          </ac:picMkLst>
        </pc:picChg>
        <pc:picChg chg="del">
          <ac:chgData name="Pierugo Pace" userId="2226acec-25d1-48aa-b467-65eac8578bef" providerId="ADAL" clId="{79ED0C4E-7D31-4904-9824-CD42FD471766}" dt="2024-04-19T08:09:10.126" v="5944" actId="478"/>
          <ac:picMkLst>
            <pc:docMk/>
            <pc:sldMk cId="2781284199" sldId="3237"/>
            <ac:picMk id="12" creationId="{804F013E-9331-4290-61CA-EE8C3C453EBB}"/>
          </ac:picMkLst>
        </pc:picChg>
        <pc:cxnChg chg="del">
          <ac:chgData name="Pierugo Pace" userId="2226acec-25d1-48aa-b467-65eac8578bef" providerId="ADAL" clId="{79ED0C4E-7D31-4904-9824-CD42FD471766}" dt="2024-04-19T08:09:10.126" v="5944" actId="478"/>
          <ac:cxnSpMkLst>
            <pc:docMk/>
            <pc:sldMk cId="2781284199" sldId="3237"/>
            <ac:cxnSpMk id="17" creationId="{0C4A710F-A2D0-C7DB-38B5-A4FA00398C6E}"/>
          </ac:cxnSpMkLst>
        </pc:cxnChg>
        <pc:cxnChg chg="del">
          <ac:chgData name="Pierugo Pace" userId="2226acec-25d1-48aa-b467-65eac8578bef" providerId="ADAL" clId="{79ED0C4E-7D31-4904-9824-CD42FD471766}" dt="2024-04-19T08:09:10.126" v="5944" actId="478"/>
          <ac:cxnSpMkLst>
            <pc:docMk/>
            <pc:sldMk cId="2781284199" sldId="3237"/>
            <ac:cxnSpMk id="21" creationId="{CD34B921-F36D-5667-2A24-F85700D12F68}"/>
          </ac:cxnSpMkLst>
        </pc:cxnChg>
      </pc:sldChg>
      <pc:sldChg chg="modSp add del mod modClrScheme chgLayout">
        <pc:chgData name="Pierugo Pace" userId="2226acec-25d1-48aa-b467-65eac8578bef" providerId="ADAL" clId="{79ED0C4E-7D31-4904-9824-CD42FD471766}" dt="2024-04-19T08:09:59.240" v="5980" actId="47"/>
        <pc:sldMkLst>
          <pc:docMk/>
          <pc:sldMk cId="1404179370" sldId="3238"/>
        </pc:sldMkLst>
        <pc:spChg chg="mod ord">
          <ac:chgData name="Pierugo Pace" userId="2226acec-25d1-48aa-b467-65eac8578bef" providerId="ADAL" clId="{79ED0C4E-7D31-4904-9824-CD42FD471766}" dt="2024-04-19T08:09:40.316" v="5958" actId="700"/>
          <ac:spMkLst>
            <pc:docMk/>
            <pc:sldMk cId="1404179370" sldId="3238"/>
            <ac:spMk id="4" creationId="{950C71FA-31D6-E24E-82F0-93559BE56F80}"/>
          </ac:spMkLst>
        </pc:spChg>
        <pc:spChg chg="mod ord">
          <ac:chgData name="Pierugo Pace" userId="2226acec-25d1-48aa-b467-65eac8578bef" providerId="ADAL" clId="{79ED0C4E-7D31-4904-9824-CD42FD471766}" dt="2024-04-19T08:09:52.905" v="5979" actId="20577"/>
          <ac:spMkLst>
            <pc:docMk/>
            <pc:sldMk cId="1404179370" sldId="3238"/>
            <ac:spMk id="13" creationId="{446036A9-9307-4558-654B-54BDF927F4BB}"/>
          </ac:spMkLst>
        </pc:spChg>
        <pc:spChg chg="mod ord">
          <ac:chgData name="Pierugo Pace" userId="2226acec-25d1-48aa-b467-65eac8578bef" providerId="ADAL" clId="{79ED0C4E-7D31-4904-9824-CD42FD471766}" dt="2024-04-19T08:09:40.316" v="5958" actId="700"/>
          <ac:spMkLst>
            <pc:docMk/>
            <pc:sldMk cId="1404179370" sldId="3238"/>
            <ac:spMk id="14" creationId="{906A0CD7-1992-4D99-0241-0586C5715EA5}"/>
          </ac:spMkLst>
        </pc:spChg>
      </pc:sldChg>
      <pc:sldChg chg="addSp delSp modSp new mod modClrScheme delAnim modAnim chgLayout modNotesTx">
        <pc:chgData name="Pierugo Pace" userId="2226acec-25d1-48aa-b467-65eac8578bef" providerId="ADAL" clId="{79ED0C4E-7D31-4904-9824-CD42FD471766}" dt="2024-04-22T16:10:15.976" v="12764" actId="14100"/>
        <pc:sldMkLst>
          <pc:docMk/>
          <pc:sldMk cId="1432698527" sldId="3238"/>
        </pc:sldMkLst>
        <pc:spChg chg="del mod ord">
          <ac:chgData name="Pierugo Pace" userId="2226acec-25d1-48aa-b467-65eac8578bef" providerId="ADAL" clId="{79ED0C4E-7D31-4904-9824-CD42FD471766}" dt="2024-04-19T08:10:05.949" v="5982" actId="700"/>
          <ac:spMkLst>
            <pc:docMk/>
            <pc:sldMk cId="1432698527" sldId="3238"/>
            <ac:spMk id="2" creationId="{098B7AC5-7618-2EAD-7D7A-84D6535621E5}"/>
          </ac:spMkLst>
        </pc:spChg>
        <pc:spChg chg="add mod">
          <ac:chgData name="Pierugo Pace" userId="2226acec-25d1-48aa-b467-65eac8578bef" providerId="ADAL" clId="{79ED0C4E-7D31-4904-9824-CD42FD471766}" dt="2024-04-22T16:10:15.976" v="12764" actId="14100"/>
          <ac:spMkLst>
            <pc:docMk/>
            <pc:sldMk cId="1432698527" sldId="3238"/>
            <ac:spMk id="2" creationId="{9C3F1C7C-82FB-C52E-209B-255078C34D71}"/>
          </ac:spMkLst>
        </pc:spChg>
        <pc:spChg chg="del">
          <ac:chgData name="Pierugo Pace" userId="2226acec-25d1-48aa-b467-65eac8578bef" providerId="ADAL" clId="{79ED0C4E-7D31-4904-9824-CD42FD471766}" dt="2024-04-19T08:10:05.949" v="5982" actId="700"/>
          <ac:spMkLst>
            <pc:docMk/>
            <pc:sldMk cId="1432698527" sldId="3238"/>
            <ac:spMk id="3" creationId="{3ACE9B84-0FDF-269F-8456-E592439D8E65}"/>
          </ac:spMkLst>
        </pc:spChg>
        <pc:spChg chg="del mod ord">
          <ac:chgData name="Pierugo Pace" userId="2226acec-25d1-48aa-b467-65eac8578bef" providerId="ADAL" clId="{79ED0C4E-7D31-4904-9824-CD42FD471766}" dt="2024-04-19T08:10:05.949" v="5982" actId="700"/>
          <ac:spMkLst>
            <pc:docMk/>
            <pc:sldMk cId="1432698527" sldId="3238"/>
            <ac:spMk id="4" creationId="{D6DED194-866A-282D-C497-CFB70D37B625}"/>
          </ac:spMkLst>
        </pc:spChg>
        <pc:spChg chg="del mod ord">
          <ac:chgData name="Pierugo Pace" userId="2226acec-25d1-48aa-b467-65eac8578bef" providerId="ADAL" clId="{79ED0C4E-7D31-4904-9824-CD42FD471766}" dt="2024-04-19T08:10:05.949" v="5982" actId="700"/>
          <ac:spMkLst>
            <pc:docMk/>
            <pc:sldMk cId="1432698527" sldId="3238"/>
            <ac:spMk id="5" creationId="{C7E350A2-5712-5357-0344-87B6E20F2A68}"/>
          </ac:spMkLst>
        </pc:spChg>
        <pc:spChg chg="add mod ord">
          <ac:chgData name="Pierugo Pace" userId="2226acec-25d1-48aa-b467-65eac8578bef" providerId="ADAL" clId="{79ED0C4E-7D31-4904-9824-CD42FD471766}" dt="2024-04-22T16:09:53.639" v="12759" actId="20577"/>
          <ac:spMkLst>
            <pc:docMk/>
            <pc:sldMk cId="1432698527" sldId="3238"/>
            <ac:spMk id="6" creationId="{1169EB5A-457A-52E5-1F9B-F973C09570D8}"/>
          </ac:spMkLst>
        </pc:spChg>
        <pc:spChg chg="add mod ord">
          <ac:chgData name="Pierugo Pace" userId="2226acec-25d1-48aa-b467-65eac8578bef" providerId="ADAL" clId="{79ED0C4E-7D31-4904-9824-CD42FD471766}" dt="2024-04-19T10:27:27.068" v="8341" actId="2711"/>
          <ac:spMkLst>
            <pc:docMk/>
            <pc:sldMk cId="1432698527" sldId="3238"/>
            <ac:spMk id="7" creationId="{B2B89228-025D-C415-FFB1-F7CFC44D6D13}"/>
          </ac:spMkLst>
        </pc:spChg>
        <pc:spChg chg="add mod ord">
          <ac:chgData name="Pierugo Pace" userId="2226acec-25d1-48aa-b467-65eac8578bef" providerId="ADAL" clId="{79ED0C4E-7D31-4904-9824-CD42FD471766}" dt="2024-04-19T08:10:08.348" v="5992" actId="20577"/>
          <ac:spMkLst>
            <pc:docMk/>
            <pc:sldMk cId="1432698527" sldId="3238"/>
            <ac:spMk id="8" creationId="{FE88BE84-624B-9FFC-DE5B-5EE3AFBC44A9}"/>
          </ac:spMkLst>
        </pc:spChg>
        <pc:spChg chg="add del mod">
          <ac:chgData name="Pierugo Pace" userId="2226acec-25d1-48aa-b467-65eac8578bef" providerId="ADAL" clId="{79ED0C4E-7D31-4904-9824-CD42FD471766}" dt="2024-04-19T08:12:05.699" v="6020" actId="478"/>
          <ac:spMkLst>
            <pc:docMk/>
            <pc:sldMk cId="1432698527" sldId="3238"/>
            <ac:spMk id="9" creationId="{2F0F0EAD-AF81-3CC9-BF26-8894B3F69B02}"/>
          </ac:spMkLst>
        </pc:spChg>
        <pc:spChg chg="add del mod">
          <ac:chgData name="Pierugo Pace" userId="2226acec-25d1-48aa-b467-65eac8578bef" providerId="ADAL" clId="{79ED0C4E-7D31-4904-9824-CD42FD471766}" dt="2024-04-19T10:39:04.576" v="8721" actId="478"/>
          <ac:spMkLst>
            <pc:docMk/>
            <pc:sldMk cId="1432698527" sldId="3238"/>
            <ac:spMk id="10" creationId="{7488DB5F-855C-4BCC-2686-525EEB2090E4}"/>
          </ac:spMkLst>
        </pc:spChg>
        <pc:spChg chg="add mod">
          <ac:chgData name="Pierugo Pace" userId="2226acec-25d1-48aa-b467-65eac8578bef" providerId="ADAL" clId="{79ED0C4E-7D31-4904-9824-CD42FD471766}" dt="2024-04-19T09:07:21.985" v="6895"/>
          <ac:spMkLst>
            <pc:docMk/>
            <pc:sldMk cId="1432698527" sldId="3238"/>
            <ac:spMk id="11" creationId="{A2C315A7-908E-5760-BAED-A0BD20448ADE}"/>
          </ac:spMkLst>
        </pc:spChg>
        <pc:spChg chg="add mod">
          <ac:chgData name="Pierugo Pace" userId="2226acec-25d1-48aa-b467-65eac8578bef" providerId="ADAL" clId="{79ED0C4E-7D31-4904-9824-CD42FD471766}" dt="2024-04-19T10:26:19.173" v="8337" actId="2711"/>
          <ac:spMkLst>
            <pc:docMk/>
            <pc:sldMk cId="1432698527" sldId="3238"/>
            <ac:spMk id="12" creationId="{23DBF59B-2F1B-4AA7-B7CB-1385FE8FA56C}"/>
          </ac:spMkLst>
        </pc:spChg>
        <pc:spChg chg="add mod">
          <ac:chgData name="Pierugo Pace" userId="2226acec-25d1-48aa-b467-65eac8578bef" providerId="ADAL" clId="{79ED0C4E-7D31-4904-9824-CD42FD471766}" dt="2024-04-19T10:39:21.098" v="8723" actId="1076"/>
          <ac:spMkLst>
            <pc:docMk/>
            <pc:sldMk cId="1432698527" sldId="3238"/>
            <ac:spMk id="13" creationId="{06831F5F-2A6C-82CA-77E0-85640566EBF9}"/>
          </ac:spMkLst>
        </pc:spChg>
      </pc:sldChg>
      <pc:sldChg chg="addSp modSp add del mod ord">
        <pc:chgData name="Pierugo Pace" userId="2226acec-25d1-48aa-b467-65eac8578bef" providerId="ADAL" clId="{79ED0C4E-7D31-4904-9824-CD42FD471766}" dt="2024-04-19T08:19:31.323" v="6165" actId="47"/>
        <pc:sldMkLst>
          <pc:docMk/>
          <pc:sldMk cId="231948959" sldId="3239"/>
        </pc:sldMkLst>
        <pc:spChg chg="add mod">
          <ac:chgData name="Pierugo Pace" userId="2226acec-25d1-48aa-b467-65eac8578bef" providerId="ADAL" clId="{79ED0C4E-7D31-4904-9824-CD42FD471766}" dt="2024-04-19T08:11:59.761" v="6018" actId="1076"/>
          <ac:spMkLst>
            <pc:docMk/>
            <pc:sldMk cId="231948959" sldId="3239"/>
            <ac:spMk id="2" creationId="{0017D55D-14B7-B086-101A-38D5E0490EF6}"/>
          </ac:spMkLst>
        </pc:spChg>
      </pc:sldChg>
      <pc:sldChg chg="addSp delSp modSp add mod delAnim modAnim modNotesTx">
        <pc:chgData name="Pierugo Pace" userId="2226acec-25d1-48aa-b467-65eac8578bef" providerId="ADAL" clId="{79ED0C4E-7D31-4904-9824-CD42FD471766}" dt="2024-04-22T16:14:24.391" v="12804"/>
        <pc:sldMkLst>
          <pc:docMk/>
          <pc:sldMk cId="1574789452" sldId="3239"/>
        </pc:sldMkLst>
        <pc:spChg chg="mod topLvl">
          <ac:chgData name="Pierugo Pace" userId="2226acec-25d1-48aa-b467-65eac8578bef" providerId="ADAL" clId="{79ED0C4E-7D31-4904-9824-CD42FD471766}" dt="2024-04-19T10:13:45.560" v="8222" actId="165"/>
          <ac:spMkLst>
            <pc:docMk/>
            <pc:sldMk cId="1574789452" sldId="3239"/>
            <ac:spMk id="3" creationId="{B9245657-77D9-AFA3-638F-DC067F510AAB}"/>
          </ac:spMkLst>
        </pc:spChg>
        <pc:spChg chg="mod">
          <ac:chgData name="Pierugo Pace" userId="2226acec-25d1-48aa-b467-65eac8578bef" providerId="ADAL" clId="{79ED0C4E-7D31-4904-9824-CD42FD471766}" dt="2024-04-22T16:11:24.763" v="12798" actId="20577"/>
          <ac:spMkLst>
            <pc:docMk/>
            <pc:sldMk cId="1574789452" sldId="3239"/>
            <ac:spMk id="4" creationId="{950C71FA-31D6-E24E-82F0-93559BE56F80}"/>
          </ac:spMkLst>
        </pc:spChg>
        <pc:spChg chg="mod topLvl">
          <ac:chgData name="Pierugo Pace" userId="2226acec-25d1-48aa-b467-65eac8578bef" providerId="ADAL" clId="{79ED0C4E-7D31-4904-9824-CD42FD471766}" dt="2024-04-19T10:13:45.560" v="8222" actId="165"/>
          <ac:spMkLst>
            <pc:docMk/>
            <pc:sldMk cId="1574789452" sldId="3239"/>
            <ac:spMk id="5" creationId="{5C2B1A03-C501-2139-8E75-30ADF8AD14F2}"/>
          </ac:spMkLst>
        </pc:spChg>
        <pc:spChg chg="mod topLvl">
          <ac:chgData name="Pierugo Pace" userId="2226acec-25d1-48aa-b467-65eac8578bef" providerId="ADAL" clId="{79ED0C4E-7D31-4904-9824-CD42FD471766}" dt="2024-04-19T10:13:45.560" v="8222" actId="165"/>
          <ac:spMkLst>
            <pc:docMk/>
            <pc:sldMk cId="1574789452" sldId="3239"/>
            <ac:spMk id="6" creationId="{880CF3DA-A263-12CC-E955-0859D9EF49DD}"/>
          </ac:spMkLst>
        </pc:spChg>
        <pc:spChg chg="mod">
          <ac:chgData name="Pierugo Pace" userId="2226acec-25d1-48aa-b467-65eac8578bef" providerId="ADAL" clId="{79ED0C4E-7D31-4904-9824-CD42FD471766}" dt="2024-04-19T08:23:43.107" v="6204"/>
          <ac:spMkLst>
            <pc:docMk/>
            <pc:sldMk cId="1574789452" sldId="3239"/>
            <ac:spMk id="11" creationId="{3CB1F4B1-52FC-C83C-634A-6E74D80554D6}"/>
          </ac:spMkLst>
        </pc:spChg>
        <pc:spChg chg="add mod">
          <ac:chgData name="Pierugo Pace" userId="2226acec-25d1-48aa-b467-65eac8578bef" providerId="ADAL" clId="{79ED0C4E-7D31-4904-9824-CD42FD471766}" dt="2024-04-19T09:32:59.012" v="7381" actId="208"/>
          <ac:spMkLst>
            <pc:docMk/>
            <pc:sldMk cId="1574789452" sldId="3239"/>
            <ac:spMk id="13" creationId="{AB76C5B8-A707-40DA-7635-937096A5B5F0}"/>
          </ac:spMkLst>
        </pc:spChg>
        <pc:spChg chg="del">
          <ac:chgData name="Pierugo Pace" userId="2226acec-25d1-48aa-b467-65eac8578bef" providerId="ADAL" clId="{79ED0C4E-7D31-4904-9824-CD42FD471766}" dt="2024-04-19T08:19:48.116" v="6173" actId="478"/>
          <ac:spMkLst>
            <pc:docMk/>
            <pc:sldMk cId="1574789452" sldId="3239"/>
            <ac:spMk id="15" creationId="{0AA244E6-6E9E-6A61-3C9C-308705E08EAB}"/>
          </ac:spMkLst>
        </pc:spChg>
        <pc:spChg chg="add mod">
          <ac:chgData name="Pierugo Pace" userId="2226acec-25d1-48aa-b467-65eac8578bef" providerId="ADAL" clId="{79ED0C4E-7D31-4904-9824-CD42FD471766}" dt="2024-04-22T16:14:24.391" v="12804"/>
          <ac:spMkLst>
            <pc:docMk/>
            <pc:sldMk cId="1574789452" sldId="3239"/>
            <ac:spMk id="15" creationId="{25D51E67-7FC2-FD5E-E2C9-9562B3B63F20}"/>
          </ac:spMkLst>
        </pc:spChg>
        <pc:spChg chg="add mod">
          <ac:chgData name="Pierugo Pace" userId="2226acec-25d1-48aa-b467-65eac8578bef" providerId="ADAL" clId="{79ED0C4E-7D31-4904-9824-CD42FD471766}" dt="2024-04-19T08:26:35.847" v="6227"/>
          <ac:spMkLst>
            <pc:docMk/>
            <pc:sldMk cId="1574789452" sldId="3239"/>
            <ac:spMk id="16" creationId="{379CB3AD-866C-986B-18B6-CDEFA01E71D0}"/>
          </ac:spMkLst>
        </pc:spChg>
        <pc:spChg chg="add mod">
          <ac:chgData name="Pierugo Pace" userId="2226acec-25d1-48aa-b467-65eac8578bef" providerId="ADAL" clId="{79ED0C4E-7D31-4904-9824-CD42FD471766}" dt="2024-04-19T08:26:40.944" v="6229" actId="571"/>
          <ac:spMkLst>
            <pc:docMk/>
            <pc:sldMk cId="1574789452" sldId="3239"/>
            <ac:spMk id="18" creationId="{0B614389-4C0D-C4A3-B90A-C30C42D4D729}"/>
          </ac:spMkLst>
        </pc:spChg>
        <pc:spChg chg="add mod">
          <ac:chgData name="Pierugo Pace" userId="2226acec-25d1-48aa-b467-65eac8578bef" providerId="ADAL" clId="{79ED0C4E-7D31-4904-9824-CD42FD471766}" dt="2024-04-19T09:16:30.004" v="7145" actId="1076"/>
          <ac:spMkLst>
            <pc:docMk/>
            <pc:sldMk cId="1574789452" sldId="3239"/>
            <ac:spMk id="19" creationId="{0154B363-56B0-6365-1BE8-A9332F776BCB}"/>
          </ac:spMkLst>
        </pc:spChg>
        <pc:spChg chg="mod">
          <ac:chgData name="Pierugo Pace" userId="2226acec-25d1-48aa-b467-65eac8578bef" providerId="ADAL" clId="{79ED0C4E-7D31-4904-9824-CD42FD471766}" dt="2024-04-19T08:27:24.726" v="6240"/>
          <ac:spMkLst>
            <pc:docMk/>
            <pc:sldMk cId="1574789452" sldId="3239"/>
            <ac:spMk id="22" creationId="{F32A5650-5CD7-FA2E-F2D8-766C12138076}"/>
          </ac:spMkLst>
        </pc:spChg>
        <pc:spChg chg="mod topLvl">
          <ac:chgData name="Pierugo Pace" userId="2226acec-25d1-48aa-b467-65eac8578bef" providerId="ADAL" clId="{79ED0C4E-7D31-4904-9824-CD42FD471766}" dt="2024-04-19T09:21:45.236" v="7255"/>
          <ac:spMkLst>
            <pc:docMk/>
            <pc:sldMk cId="1574789452" sldId="3239"/>
            <ac:spMk id="25" creationId="{03C73148-D670-2D36-6D5D-01F07B9811F3}"/>
          </ac:spMkLst>
        </pc:spChg>
        <pc:spChg chg="mod topLvl">
          <ac:chgData name="Pierugo Pace" userId="2226acec-25d1-48aa-b467-65eac8578bef" providerId="ADAL" clId="{79ED0C4E-7D31-4904-9824-CD42FD471766}" dt="2024-04-19T09:21:45.236" v="7255"/>
          <ac:spMkLst>
            <pc:docMk/>
            <pc:sldMk cId="1574789452" sldId="3239"/>
            <ac:spMk id="26" creationId="{5667A943-58BA-2E1E-D55A-033C0DBA63E0}"/>
          </ac:spMkLst>
        </pc:spChg>
        <pc:spChg chg="mod">
          <ac:chgData name="Pierugo Pace" userId="2226acec-25d1-48aa-b467-65eac8578bef" providerId="ADAL" clId="{79ED0C4E-7D31-4904-9824-CD42FD471766}" dt="2024-04-19T08:27:24.726" v="6240"/>
          <ac:spMkLst>
            <pc:docMk/>
            <pc:sldMk cId="1574789452" sldId="3239"/>
            <ac:spMk id="27" creationId="{B167FBFA-70D1-4992-07CE-8F3CD08D9E1A}"/>
          </ac:spMkLst>
        </pc:spChg>
        <pc:spChg chg="mod">
          <ac:chgData name="Pierugo Pace" userId="2226acec-25d1-48aa-b467-65eac8578bef" providerId="ADAL" clId="{79ED0C4E-7D31-4904-9824-CD42FD471766}" dt="2024-04-19T08:27:24.726" v="6240"/>
          <ac:spMkLst>
            <pc:docMk/>
            <pc:sldMk cId="1574789452" sldId="3239"/>
            <ac:spMk id="29" creationId="{0F3FB30C-2F75-2F24-CF51-24D04908B2AE}"/>
          </ac:spMkLst>
        </pc:spChg>
        <pc:spChg chg="mod">
          <ac:chgData name="Pierugo Pace" userId="2226acec-25d1-48aa-b467-65eac8578bef" providerId="ADAL" clId="{79ED0C4E-7D31-4904-9824-CD42FD471766}" dt="2024-04-19T08:30:02.728" v="6437"/>
          <ac:spMkLst>
            <pc:docMk/>
            <pc:sldMk cId="1574789452" sldId="3239"/>
            <ac:spMk id="36" creationId="{192F19B1-C2CF-84F8-1336-04B59E9A070A}"/>
          </ac:spMkLst>
        </pc:spChg>
        <pc:spChg chg="mod">
          <ac:chgData name="Pierugo Pace" userId="2226acec-25d1-48aa-b467-65eac8578bef" providerId="ADAL" clId="{79ED0C4E-7D31-4904-9824-CD42FD471766}" dt="2024-04-19T08:30:02.728" v="6437"/>
          <ac:spMkLst>
            <pc:docMk/>
            <pc:sldMk cId="1574789452" sldId="3239"/>
            <ac:spMk id="37" creationId="{89583638-FFD4-EADC-34EF-0BF2689393FD}"/>
          </ac:spMkLst>
        </pc:spChg>
        <pc:spChg chg="mod">
          <ac:chgData name="Pierugo Pace" userId="2226acec-25d1-48aa-b467-65eac8578bef" providerId="ADAL" clId="{79ED0C4E-7D31-4904-9824-CD42FD471766}" dt="2024-04-19T08:30:02.728" v="6437"/>
          <ac:spMkLst>
            <pc:docMk/>
            <pc:sldMk cId="1574789452" sldId="3239"/>
            <ac:spMk id="38" creationId="{ADCDD44C-E0C1-E06B-40BA-0F08CDA8805A}"/>
          </ac:spMkLst>
        </pc:spChg>
        <pc:spChg chg="add del mod topLvl">
          <ac:chgData name="Pierugo Pace" userId="2226acec-25d1-48aa-b467-65eac8578bef" providerId="ADAL" clId="{79ED0C4E-7D31-4904-9824-CD42FD471766}" dt="2024-04-19T08:32:36.207" v="6489" actId="478"/>
          <ac:spMkLst>
            <pc:docMk/>
            <pc:sldMk cId="1574789452" sldId="3239"/>
            <ac:spMk id="40" creationId="{1C219249-8CD3-F404-0E4F-19BBDFB22BA8}"/>
          </ac:spMkLst>
        </pc:spChg>
        <pc:spChg chg="mod ord topLvl">
          <ac:chgData name="Pierugo Pace" userId="2226acec-25d1-48aa-b467-65eac8578bef" providerId="ADAL" clId="{79ED0C4E-7D31-4904-9824-CD42FD471766}" dt="2024-04-19T10:17:10.183" v="8257" actId="164"/>
          <ac:spMkLst>
            <pc:docMk/>
            <pc:sldMk cId="1574789452" sldId="3239"/>
            <ac:spMk id="41" creationId="{D52DB216-2AE8-AE61-EF53-871A1BAD3667}"/>
          </ac:spMkLst>
        </pc:spChg>
        <pc:spChg chg="del mod topLvl">
          <ac:chgData name="Pierugo Pace" userId="2226acec-25d1-48aa-b467-65eac8578bef" providerId="ADAL" clId="{79ED0C4E-7D31-4904-9824-CD42FD471766}" dt="2024-04-19T08:32:41.635" v="6493" actId="478"/>
          <ac:spMkLst>
            <pc:docMk/>
            <pc:sldMk cId="1574789452" sldId="3239"/>
            <ac:spMk id="42" creationId="{21508F0A-B896-9596-0C6B-3B3FC9444B83}"/>
          </ac:spMkLst>
        </pc:spChg>
        <pc:spChg chg="add mod topLvl">
          <ac:chgData name="Pierugo Pace" userId="2226acec-25d1-48aa-b467-65eac8578bef" providerId="ADAL" clId="{79ED0C4E-7D31-4904-9824-CD42FD471766}" dt="2024-04-19T09:01:41.577" v="6869" actId="164"/>
          <ac:spMkLst>
            <pc:docMk/>
            <pc:sldMk cId="1574789452" sldId="3239"/>
            <ac:spMk id="44" creationId="{9E4DD8AF-70FA-AE9B-BCCC-E596E5192016}"/>
          </ac:spMkLst>
        </pc:spChg>
        <pc:spChg chg="add mod topLvl">
          <ac:chgData name="Pierugo Pace" userId="2226acec-25d1-48aa-b467-65eac8578bef" providerId="ADAL" clId="{79ED0C4E-7D31-4904-9824-CD42FD471766}" dt="2024-04-19T08:59:50.026" v="6848" actId="164"/>
          <ac:spMkLst>
            <pc:docMk/>
            <pc:sldMk cId="1574789452" sldId="3239"/>
            <ac:spMk id="45" creationId="{2827F093-3A11-E120-C9CE-55E6301E403E}"/>
          </ac:spMkLst>
        </pc:spChg>
        <pc:spChg chg="add mod topLvl">
          <ac:chgData name="Pierugo Pace" userId="2226acec-25d1-48aa-b467-65eac8578bef" providerId="ADAL" clId="{79ED0C4E-7D31-4904-9824-CD42FD471766}" dt="2024-04-19T08:59:50.026" v="6848" actId="164"/>
          <ac:spMkLst>
            <pc:docMk/>
            <pc:sldMk cId="1574789452" sldId="3239"/>
            <ac:spMk id="47" creationId="{CAFF8E91-433E-63F3-235D-D3533890E0ED}"/>
          </ac:spMkLst>
        </pc:spChg>
        <pc:spChg chg="add mod topLvl">
          <ac:chgData name="Pierugo Pace" userId="2226acec-25d1-48aa-b467-65eac8578bef" providerId="ADAL" clId="{79ED0C4E-7D31-4904-9824-CD42FD471766}" dt="2024-04-19T10:16:38.272" v="8251" actId="165"/>
          <ac:spMkLst>
            <pc:docMk/>
            <pc:sldMk cId="1574789452" sldId="3239"/>
            <ac:spMk id="52" creationId="{782A86B9-4818-2B56-7DFD-B8477C62ADE7}"/>
          </ac:spMkLst>
        </pc:spChg>
        <pc:spChg chg="add mod topLvl">
          <ac:chgData name="Pierugo Pace" userId="2226acec-25d1-48aa-b467-65eac8578bef" providerId="ADAL" clId="{79ED0C4E-7D31-4904-9824-CD42FD471766}" dt="2024-04-19T10:16:38.272" v="8251" actId="165"/>
          <ac:spMkLst>
            <pc:docMk/>
            <pc:sldMk cId="1574789452" sldId="3239"/>
            <ac:spMk id="53" creationId="{6D5E516E-FDCE-9C33-B97E-2A24E7235AD9}"/>
          </ac:spMkLst>
        </pc:spChg>
        <pc:spChg chg="mod">
          <ac:chgData name="Pierugo Pace" userId="2226acec-25d1-48aa-b467-65eac8578bef" providerId="ADAL" clId="{79ED0C4E-7D31-4904-9824-CD42FD471766}" dt="2024-04-19T08:27:48.852" v="6244" actId="164"/>
          <ac:spMkLst>
            <pc:docMk/>
            <pc:sldMk cId="1574789452" sldId="3239"/>
            <ac:spMk id="59" creationId="{A7D56B56-A4B5-3E12-5628-FD8ED8123C10}"/>
          </ac:spMkLst>
        </pc:spChg>
        <pc:spChg chg="mod">
          <ac:chgData name="Pierugo Pace" userId="2226acec-25d1-48aa-b467-65eac8578bef" providerId="ADAL" clId="{79ED0C4E-7D31-4904-9824-CD42FD471766}" dt="2024-04-19T09:16:30.004" v="7145" actId="1076"/>
          <ac:spMkLst>
            <pc:docMk/>
            <pc:sldMk cId="1574789452" sldId="3239"/>
            <ac:spMk id="60" creationId="{B9775471-4B89-5431-3882-297DB555A703}"/>
          </ac:spMkLst>
        </pc:spChg>
        <pc:spChg chg="add mod topLvl">
          <ac:chgData name="Pierugo Pace" userId="2226acec-25d1-48aa-b467-65eac8578bef" providerId="ADAL" clId="{79ED0C4E-7D31-4904-9824-CD42FD471766}" dt="2024-04-19T10:17:10.183" v="8257" actId="164"/>
          <ac:spMkLst>
            <pc:docMk/>
            <pc:sldMk cId="1574789452" sldId="3239"/>
            <ac:spMk id="61" creationId="{272282F3-FCBB-57B1-0739-DC47D7A1C174}"/>
          </ac:spMkLst>
        </pc:spChg>
        <pc:spChg chg="add mod topLvl">
          <ac:chgData name="Pierugo Pace" userId="2226acec-25d1-48aa-b467-65eac8578bef" providerId="ADAL" clId="{79ED0C4E-7D31-4904-9824-CD42FD471766}" dt="2024-04-19T10:17:10.183" v="8257" actId="164"/>
          <ac:spMkLst>
            <pc:docMk/>
            <pc:sldMk cId="1574789452" sldId="3239"/>
            <ac:spMk id="63" creationId="{BE6CF574-82F6-A4D1-FD93-C32BC615A759}"/>
          </ac:spMkLst>
        </pc:spChg>
        <pc:spChg chg="mod topLvl">
          <ac:chgData name="Pierugo Pace" userId="2226acec-25d1-48aa-b467-65eac8578bef" providerId="ADAL" clId="{79ED0C4E-7D31-4904-9824-CD42FD471766}" dt="2024-04-21T11:38:59.122" v="10828" actId="164"/>
          <ac:spMkLst>
            <pc:docMk/>
            <pc:sldMk cId="1574789452" sldId="3239"/>
            <ac:spMk id="68" creationId="{992F89A8-6819-CEF6-CA04-E9C332629B4F}"/>
          </ac:spMkLst>
        </pc:spChg>
        <pc:spChg chg="mod topLvl">
          <ac:chgData name="Pierugo Pace" userId="2226acec-25d1-48aa-b467-65eac8578bef" providerId="ADAL" clId="{79ED0C4E-7D31-4904-9824-CD42FD471766}" dt="2024-04-21T11:38:59.122" v="10828" actId="164"/>
          <ac:spMkLst>
            <pc:docMk/>
            <pc:sldMk cId="1574789452" sldId="3239"/>
            <ac:spMk id="70" creationId="{E06D5819-8FCD-8B57-BE9A-41C10D2C6F9E}"/>
          </ac:spMkLst>
        </pc:spChg>
        <pc:spChg chg="del mod topLvl">
          <ac:chgData name="Pierugo Pace" userId="2226acec-25d1-48aa-b467-65eac8578bef" providerId="ADAL" clId="{79ED0C4E-7D31-4904-9824-CD42FD471766}" dt="2024-04-19T09:14:12.185" v="7113" actId="478"/>
          <ac:spMkLst>
            <pc:docMk/>
            <pc:sldMk cId="1574789452" sldId="3239"/>
            <ac:spMk id="71" creationId="{E7C8C4D2-1550-9F40-CE90-E6E8BB5CBFDD}"/>
          </ac:spMkLst>
        </pc:spChg>
        <pc:spChg chg="add del mod topLvl">
          <ac:chgData name="Pierugo Pace" userId="2226acec-25d1-48aa-b467-65eac8578bef" providerId="ADAL" clId="{79ED0C4E-7D31-4904-9824-CD42FD471766}" dt="2024-04-21T11:38:10.795" v="10807" actId="165"/>
          <ac:spMkLst>
            <pc:docMk/>
            <pc:sldMk cId="1574789452" sldId="3239"/>
            <ac:spMk id="72" creationId="{7042D457-33CC-EAEB-E193-D935A09E3B9B}"/>
          </ac:spMkLst>
        </pc:spChg>
        <pc:spChg chg="add del mod topLvl">
          <ac:chgData name="Pierugo Pace" userId="2226acec-25d1-48aa-b467-65eac8578bef" providerId="ADAL" clId="{79ED0C4E-7D31-4904-9824-CD42FD471766}" dt="2024-04-21T11:38:10.795" v="10807" actId="165"/>
          <ac:spMkLst>
            <pc:docMk/>
            <pc:sldMk cId="1574789452" sldId="3239"/>
            <ac:spMk id="73" creationId="{D236516C-B079-F8A8-002E-C1746FD32641}"/>
          </ac:spMkLst>
        </pc:spChg>
        <pc:spChg chg="add mod topLvl">
          <ac:chgData name="Pierugo Pace" userId="2226acec-25d1-48aa-b467-65eac8578bef" providerId="ADAL" clId="{79ED0C4E-7D31-4904-9824-CD42FD471766}" dt="2024-04-21T11:38:59.122" v="10828" actId="164"/>
          <ac:spMkLst>
            <pc:docMk/>
            <pc:sldMk cId="1574789452" sldId="3239"/>
            <ac:spMk id="74" creationId="{2CACBC6B-7DD2-40FE-797A-40CFF9F0B4CC}"/>
          </ac:spMkLst>
        </pc:spChg>
        <pc:spChg chg="add del mod">
          <ac:chgData name="Pierugo Pace" userId="2226acec-25d1-48aa-b467-65eac8578bef" providerId="ADAL" clId="{79ED0C4E-7D31-4904-9824-CD42FD471766}" dt="2024-04-19T09:24:25.475" v="7292" actId="21"/>
          <ac:spMkLst>
            <pc:docMk/>
            <pc:sldMk cId="1574789452" sldId="3239"/>
            <ac:spMk id="78" creationId="{5470F20F-9A54-9641-0F7D-64352795615E}"/>
          </ac:spMkLst>
        </pc:spChg>
        <pc:spChg chg="add del mod">
          <ac:chgData name="Pierugo Pace" userId="2226acec-25d1-48aa-b467-65eac8578bef" providerId="ADAL" clId="{79ED0C4E-7D31-4904-9824-CD42FD471766}" dt="2024-04-19T09:24:45.890" v="7297" actId="478"/>
          <ac:spMkLst>
            <pc:docMk/>
            <pc:sldMk cId="1574789452" sldId="3239"/>
            <ac:spMk id="79" creationId="{2A950521-62AC-7D7F-AFDB-6E204A7FCEFE}"/>
          </ac:spMkLst>
        </pc:spChg>
        <pc:spChg chg="add mod topLvl">
          <ac:chgData name="Pierugo Pace" userId="2226acec-25d1-48aa-b467-65eac8578bef" providerId="ADAL" clId="{79ED0C4E-7D31-4904-9824-CD42FD471766}" dt="2024-04-21T11:38:59.122" v="10828" actId="164"/>
          <ac:spMkLst>
            <pc:docMk/>
            <pc:sldMk cId="1574789452" sldId="3239"/>
            <ac:spMk id="80" creationId="{CE03A3FD-8785-62B1-8D97-7979005149A5}"/>
          </ac:spMkLst>
        </pc:spChg>
        <pc:spChg chg="add del mod">
          <ac:chgData name="Pierugo Pace" userId="2226acec-25d1-48aa-b467-65eac8578bef" providerId="ADAL" clId="{79ED0C4E-7D31-4904-9824-CD42FD471766}" dt="2024-04-19T09:26:09.060" v="7313" actId="478"/>
          <ac:spMkLst>
            <pc:docMk/>
            <pc:sldMk cId="1574789452" sldId="3239"/>
            <ac:spMk id="81" creationId="{5EE34F75-C553-E888-82BD-522B90B53070}"/>
          </ac:spMkLst>
        </pc:spChg>
        <pc:spChg chg="add mod topLvl">
          <ac:chgData name="Pierugo Pace" userId="2226acec-25d1-48aa-b467-65eac8578bef" providerId="ADAL" clId="{79ED0C4E-7D31-4904-9824-CD42FD471766}" dt="2024-04-21T11:38:59.122" v="10828" actId="164"/>
          <ac:spMkLst>
            <pc:docMk/>
            <pc:sldMk cId="1574789452" sldId="3239"/>
            <ac:spMk id="82" creationId="{BD99E650-D40D-94F0-3411-B465A0B0335D}"/>
          </ac:spMkLst>
        </pc:spChg>
        <pc:spChg chg="add mod topLvl">
          <ac:chgData name="Pierugo Pace" userId="2226acec-25d1-48aa-b467-65eac8578bef" providerId="ADAL" clId="{79ED0C4E-7D31-4904-9824-CD42FD471766}" dt="2024-04-21T11:39:10.806" v="10831" actId="164"/>
          <ac:spMkLst>
            <pc:docMk/>
            <pc:sldMk cId="1574789452" sldId="3239"/>
            <ac:spMk id="84" creationId="{3F476E0B-E5ED-0901-7A16-20363499CF1F}"/>
          </ac:spMkLst>
        </pc:spChg>
        <pc:spChg chg="mod">
          <ac:chgData name="Pierugo Pace" userId="2226acec-25d1-48aa-b467-65eac8578bef" providerId="ADAL" clId="{79ED0C4E-7D31-4904-9824-CD42FD471766}" dt="2024-04-19T08:27:48.852" v="6244" actId="164"/>
          <ac:spMkLst>
            <pc:docMk/>
            <pc:sldMk cId="1574789452" sldId="3239"/>
            <ac:spMk id="85" creationId="{51F8C54D-ADD8-CB7B-4105-17CB169E577F}"/>
          </ac:spMkLst>
        </pc:spChg>
        <pc:spChg chg="add mod topLvl">
          <ac:chgData name="Pierugo Pace" userId="2226acec-25d1-48aa-b467-65eac8578bef" providerId="ADAL" clId="{79ED0C4E-7D31-4904-9824-CD42FD471766}" dt="2024-04-21T11:39:10.806" v="10831" actId="164"/>
          <ac:spMkLst>
            <pc:docMk/>
            <pc:sldMk cId="1574789452" sldId="3239"/>
            <ac:spMk id="88" creationId="{3CAA9AA0-A533-B818-7E4A-F1797FF63C4E}"/>
          </ac:spMkLst>
        </pc:spChg>
        <pc:spChg chg="add del mod">
          <ac:chgData name="Pierugo Pace" userId="2226acec-25d1-48aa-b467-65eac8578bef" providerId="ADAL" clId="{79ED0C4E-7D31-4904-9824-CD42FD471766}" dt="2024-04-21T11:40:55.366" v="10863" actId="478"/>
          <ac:spMkLst>
            <pc:docMk/>
            <pc:sldMk cId="1574789452" sldId="3239"/>
            <ac:spMk id="89" creationId="{4F59C577-AB80-9DE8-D357-3399E5C544A2}"/>
          </ac:spMkLst>
        </pc:spChg>
        <pc:spChg chg="add del mod">
          <ac:chgData name="Pierugo Pace" userId="2226acec-25d1-48aa-b467-65eac8578bef" providerId="ADAL" clId="{79ED0C4E-7D31-4904-9824-CD42FD471766}" dt="2024-04-21T11:40:50.489" v="10861" actId="478"/>
          <ac:spMkLst>
            <pc:docMk/>
            <pc:sldMk cId="1574789452" sldId="3239"/>
            <ac:spMk id="90" creationId="{568C5A8C-114E-13CD-2CA6-E58946E99D3F}"/>
          </ac:spMkLst>
        </pc:spChg>
        <pc:spChg chg="add mod">
          <ac:chgData name="Pierugo Pace" userId="2226acec-25d1-48aa-b467-65eac8578bef" providerId="ADAL" clId="{79ED0C4E-7D31-4904-9824-CD42FD471766}" dt="2024-04-19T10:11:50.072" v="8207"/>
          <ac:spMkLst>
            <pc:docMk/>
            <pc:sldMk cId="1574789452" sldId="3239"/>
            <ac:spMk id="93" creationId="{75719A5B-2D6E-B0DB-953A-74F16B363529}"/>
          </ac:spMkLst>
        </pc:spChg>
        <pc:spChg chg="add mod">
          <ac:chgData name="Pierugo Pace" userId="2226acec-25d1-48aa-b467-65eac8578bef" providerId="ADAL" clId="{79ED0C4E-7D31-4904-9824-CD42FD471766}" dt="2024-04-19T10:13:50.771" v="8224" actId="571"/>
          <ac:spMkLst>
            <pc:docMk/>
            <pc:sldMk cId="1574789452" sldId="3239"/>
            <ac:spMk id="94" creationId="{9BB5BE01-F61C-53D5-CE64-9C3E75913598}"/>
          </ac:spMkLst>
        </pc:spChg>
        <pc:spChg chg="add mod">
          <ac:chgData name="Pierugo Pace" userId="2226acec-25d1-48aa-b467-65eac8578bef" providerId="ADAL" clId="{79ED0C4E-7D31-4904-9824-CD42FD471766}" dt="2024-04-19T10:13:50.771" v="8224" actId="571"/>
          <ac:spMkLst>
            <pc:docMk/>
            <pc:sldMk cId="1574789452" sldId="3239"/>
            <ac:spMk id="95" creationId="{FFDFF608-D64B-F693-37C0-C79A0317470C}"/>
          </ac:spMkLst>
        </pc:spChg>
        <pc:grpChg chg="add del mod">
          <ac:chgData name="Pierugo Pace" userId="2226acec-25d1-48aa-b467-65eac8578bef" providerId="ADAL" clId="{79ED0C4E-7D31-4904-9824-CD42FD471766}" dt="2024-04-19T08:20:38.185" v="6178" actId="165"/>
          <ac:grpSpMkLst>
            <pc:docMk/>
            <pc:sldMk cId="1574789452" sldId="3239"/>
            <ac:grpSpMk id="2" creationId="{121AE6BF-D652-3775-7660-3EA85BB4E932}"/>
          </ac:grpSpMkLst>
        </pc:grpChg>
        <pc:grpChg chg="add mod">
          <ac:chgData name="Pierugo Pace" userId="2226acec-25d1-48aa-b467-65eac8578bef" providerId="ADAL" clId="{79ED0C4E-7D31-4904-9824-CD42FD471766}" dt="2024-04-21T11:39:10.806" v="10831" actId="164"/>
          <ac:grpSpMkLst>
            <pc:docMk/>
            <pc:sldMk cId="1574789452" sldId="3239"/>
            <ac:grpSpMk id="2" creationId="{BD5345B1-9D4D-8772-68C5-72AA124BE961}"/>
          </ac:grpSpMkLst>
        </pc:grpChg>
        <pc:grpChg chg="add del mod">
          <ac:chgData name="Pierugo Pace" userId="2226acec-25d1-48aa-b467-65eac8578bef" providerId="ADAL" clId="{79ED0C4E-7D31-4904-9824-CD42FD471766}" dt="2024-04-19T10:13:45.560" v="8222" actId="165"/>
          <ac:grpSpMkLst>
            <pc:docMk/>
            <pc:sldMk cId="1574789452" sldId="3239"/>
            <ac:grpSpMk id="7" creationId="{2D8A190C-FBFF-FBC5-9FAD-133BD622550B}"/>
          </ac:grpSpMkLst>
        </pc:grpChg>
        <pc:grpChg chg="add mod">
          <ac:chgData name="Pierugo Pace" userId="2226acec-25d1-48aa-b467-65eac8578bef" providerId="ADAL" clId="{79ED0C4E-7D31-4904-9824-CD42FD471766}" dt="2024-04-21T11:39:10.806" v="10831" actId="164"/>
          <ac:grpSpMkLst>
            <pc:docMk/>
            <pc:sldMk cId="1574789452" sldId="3239"/>
            <ac:grpSpMk id="7" creationId="{88E5FE09-5EAD-82FB-5AAA-B483770B535C}"/>
          </ac:grpSpMkLst>
        </pc:grpChg>
        <pc:grpChg chg="add mod">
          <ac:chgData name="Pierugo Pace" userId="2226acec-25d1-48aa-b467-65eac8578bef" providerId="ADAL" clId="{79ED0C4E-7D31-4904-9824-CD42FD471766}" dt="2024-04-19T09:16:30.004" v="7145" actId="1076"/>
          <ac:grpSpMkLst>
            <pc:docMk/>
            <pc:sldMk cId="1574789452" sldId="3239"/>
            <ac:grpSpMk id="9" creationId="{67FE6C7B-07E4-A2AD-6E15-FB7CBEE29110}"/>
          </ac:grpSpMkLst>
        </pc:grpChg>
        <pc:grpChg chg="add mod">
          <ac:chgData name="Pierugo Pace" userId="2226acec-25d1-48aa-b467-65eac8578bef" providerId="ADAL" clId="{79ED0C4E-7D31-4904-9824-CD42FD471766}" dt="2024-04-19T09:16:30.004" v="7145" actId="1076"/>
          <ac:grpSpMkLst>
            <pc:docMk/>
            <pc:sldMk cId="1574789452" sldId="3239"/>
            <ac:grpSpMk id="20" creationId="{FBDAF336-4C24-5683-7692-7E9A761C9C31}"/>
          </ac:grpSpMkLst>
        </pc:grpChg>
        <pc:grpChg chg="add mod">
          <ac:chgData name="Pierugo Pace" userId="2226acec-25d1-48aa-b467-65eac8578bef" providerId="ADAL" clId="{79ED0C4E-7D31-4904-9824-CD42FD471766}" dt="2024-04-19T09:16:30.004" v="7145" actId="1076"/>
          <ac:grpSpMkLst>
            <pc:docMk/>
            <pc:sldMk cId="1574789452" sldId="3239"/>
            <ac:grpSpMk id="32" creationId="{4AD2071D-9E0E-29CA-1D12-2039DB437D83}"/>
          </ac:grpSpMkLst>
        </pc:grpChg>
        <pc:grpChg chg="add mod">
          <ac:chgData name="Pierugo Pace" userId="2226acec-25d1-48aa-b467-65eac8578bef" providerId="ADAL" clId="{79ED0C4E-7D31-4904-9824-CD42FD471766}" dt="2024-04-19T08:30:17.155" v="6443" actId="1076"/>
          <ac:grpSpMkLst>
            <pc:docMk/>
            <pc:sldMk cId="1574789452" sldId="3239"/>
            <ac:grpSpMk id="34" creationId="{94FEF3F9-E573-C127-846D-D5E6B4905CED}"/>
          </ac:grpSpMkLst>
        </pc:grpChg>
        <pc:grpChg chg="del">
          <ac:chgData name="Pierugo Pace" userId="2226acec-25d1-48aa-b467-65eac8578bef" providerId="ADAL" clId="{79ED0C4E-7D31-4904-9824-CD42FD471766}" dt="2024-04-19T08:24:17.789" v="6208" actId="165"/>
          <ac:grpSpMkLst>
            <pc:docMk/>
            <pc:sldMk cId="1574789452" sldId="3239"/>
            <ac:grpSpMk id="35" creationId="{6E9FA3B4-A15B-0D51-E0AD-AD1CB0A3F3D1}"/>
          </ac:grpSpMkLst>
        </pc:grpChg>
        <pc:grpChg chg="add del mod">
          <ac:chgData name="Pierugo Pace" userId="2226acec-25d1-48aa-b467-65eac8578bef" providerId="ADAL" clId="{79ED0C4E-7D31-4904-9824-CD42FD471766}" dt="2024-04-19T08:32:34.174" v="6488" actId="165"/>
          <ac:grpSpMkLst>
            <pc:docMk/>
            <pc:sldMk cId="1574789452" sldId="3239"/>
            <ac:grpSpMk id="39" creationId="{26BA0BE6-DB11-06F2-9A2D-F8092EFB4B02}"/>
          </ac:grpSpMkLst>
        </pc:grpChg>
        <pc:grpChg chg="add del mod">
          <ac:chgData name="Pierugo Pace" userId="2226acec-25d1-48aa-b467-65eac8578bef" providerId="ADAL" clId="{79ED0C4E-7D31-4904-9824-CD42FD471766}" dt="2024-04-19T08:32:23.874" v="6475" actId="164"/>
          <ac:grpSpMkLst>
            <pc:docMk/>
            <pc:sldMk cId="1574789452" sldId="3239"/>
            <ac:grpSpMk id="43" creationId="{EBB71EC8-0E55-0FE0-1D28-A12B6DC6C73D}"/>
          </ac:grpSpMkLst>
        </pc:grpChg>
        <pc:grpChg chg="add mod">
          <ac:chgData name="Pierugo Pace" userId="2226acec-25d1-48aa-b467-65eac8578bef" providerId="ADAL" clId="{79ED0C4E-7D31-4904-9824-CD42FD471766}" dt="2024-04-19T09:21:45.236" v="7255"/>
          <ac:grpSpMkLst>
            <pc:docMk/>
            <pc:sldMk cId="1574789452" sldId="3239"/>
            <ac:grpSpMk id="46" creationId="{20FCFC4E-B683-35FD-09D1-2339979013F8}"/>
          </ac:grpSpMkLst>
        </pc:grpChg>
        <pc:grpChg chg="del">
          <ac:chgData name="Pierugo Pace" userId="2226acec-25d1-48aa-b467-65eac8578bef" providerId="ADAL" clId="{79ED0C4E-7D31-4904-9824-CD42FD471766}" dt="2024-04-19T08:20:11.832" v="6175" actId="478"/>
          <ac:grpSpMkLst>
            <pc:docMk/>
            <pc:sldMk cId="1574789452" sldId="3239"/>
            <ac:grpSpMk id="50" creationId="{B4086317-6184-7BE4-6E51-598BB9E12BF9}"/>
          </ac:grpSpMkLst>
        </pc:grpChg>
        <pc:grpChg chg="add del mod">
          <ac:chgData name="Pierugo Pace" userId="2226acec-25d1-48aa-b467-65eac8578bef" providerId="ADAL" clId="{79ED0C4E-7D31-4904-9824-CD42FD471766}" dt="2024-04-19T08:48:07.754" v="6647" actId="165"/>
          <ac:grpSpMkLst>
            <pc:docMk/>
            <pc:sldMk cId="1574789452" sldId="3239"/>
            <ac:grpSpMk id="51" creationId="{18D26855-7AF7-8794-129D-47C67E562889}"/>
          </ac:grpSpMkLst>
        </pc:grpChg>
        <pc:grpChg chg="add del mod topLvl">
          <ac:chgData name="Pierugo Pace" userId="2226acec-25d1-48aa-b467-65eac8578bef" providerId="ADAL" clId="{79ED0C4E-7D31-4904-9824-CD42FD471766}" dt="2024-04-19T09:23:39.298" v="7280" actId="165"/>
          <ac:grpSpMkLst>
            <pc:docMk/>
            <pc:sldMk cId="1574789452" sldId="3239"/>
            <ac:grpSpMk id="54" creationId="{011EF1B6-310A-3A0C-A85B-018DDBD7065A}"/>
          </ac:grpSpMkLst>
        </pc:grpChg>
        <pc:grpChg chg="add del mod">
          <ac:chgData name="Pierugo Pace" userId="2226acec-25d1-48aa-b467-65eac8578bef" providerId="ADAL" clId="{79ED0C4E-7D31-4904-9824-CD42FD471766}" dt="2024-04-19T08:55:14.013" v="6772" actId="165"/>
          <ac:grpSpMkLst>
            <pc:docMk/>
            <pc:sldMk cId="1574789452" sldId="3239"/>
            <ac:grpSpMk id="58" creationId="{C2CF6A6D-E7D2-EBF6-E5E2-4C5CFFA3C697}"/>
          </ac:grpSpMkLst>
        </pc:grpChg>
        <pc:grpChg chg="mod">
          <ac:chgData name="Pierugo Pace" userId="2226acec-25d1-48aa-b467-65eac8578bef" providerId="ADAL" clId="{79ED0C4E-7D31-4904-9824-CD42FD471766}" dt="2024-04-19T09:16:30.004" v="7145" actId="1076"/>
          <ac:grpSpMkLst>
            <pc:docMk/>
            <pc:sldMk cId="1574789452" sldId="3239"/>
            <ac:grpSpMk id="62" creationId="{B93625C5-B7B2-98EC-0BA1-C9C888F0D2D3}"/>
          </ac:grpSpMkLst>
        </pc:grpChg>
        <pc:grpChg chg="add mod">
          <ac:chgData name="Pierugo Pace" userId="2226acec-25d1-48aa-b467-65eac8578bef" providerId="ADAL" clId="{79ED0C4E-7D31-4904-9824-CD42FD471766}" dt="2024-04-19T09:01:41.577" v="6869" actId="164"/>
          <ac:grpSpMkLst>
            <pc:docMk/>
            <pc:sldMk cId="1574789452" sldId="3239"/>
            <ac:grpSpMk id="64" creationId="{ACB458BA-D63C-E58D-8552-428FA3824F7C}"/>
          </ac:grpSpMkLst>
        </pc:grpChg>
        <pc:grpChg chg="add del mod">
          <ac:chgData name="Pierugo Pace" userId="2226acec-25d1-48aa-b467-65eac8578bef" providerId="ADAL" clId="{79ED0C4E-7D31-4904-9824-CD42FD471766}" dt="2024-04-19T09:23:36.466" v="7279" actId="165"/>
          <ac:grpSpMkLst>
            <pc:docMk/>
            <pc:sldMk cId="1574789452" sldId="3239"/>
            <ac:grpSpMk id="65" creationId="{ABC7B0CA-CB94-134A-70D8-D030B6228D27}"/>
          </ac:grpSpMkLst>
        </pc:grpChg>
        <pc:grpChg chg="add del mod">
          <ac:chgData name="Pierugo Pace" userId="2226acec-25d1-48aa-b467-65eac8578bef" providerId="ADAL" clId="{79ED0C4E-7D31-4904-9824-CD42FD471766}" dt="2024-04-19T09:02:09.682" v="6875" actId="478"/>
          <ac:grpSpMkLst>
            <pc:docMk/>
            <pc:sldMk cId="1574789452" sldId="3239"/>
            <ac:grpSpMk id="66" creationId="{2BB71957-C24A-10E9-2886-041DD5C9A32B}"/>
          </ac:grpSpMkLst>
        </pc:grpChg>
        <pc:grpChg chg="add del mod">
          <ac:chgData name="Pierugo Pace" userId="2226acec-25d1-48aa-b467-65eac8578bef" providerId="ADAL" clId="{79ED0C4E-7D31-4904-9824-CD42FD471766}" dt="2024-04-19T09:12:12.081" v="7065" actId="165"/>
          <ac:grpSpMkLst>
            <pc:docMk/>
            <pc:sldMk cId="1574789452" sldId="3239"/>
            <ac:grpSpMk id="67" creationId="{462CA40F-CAE1-AAFB-06C1-46DEACAE8EA8}"/>
          </ac:grpSpMkLst>
        </pc:grpChg>
        <pc:grpChg chg="add del mod topLvl">
          <ac:chgData name="Pierugo Pace" userId="2226acec-25d1-48aa-b467-65eac8578bef" providerId="ADAL" clId="{79ED0C4E-7D31-4904-9824-CD42FD471766}" dt="2024-04-19T09:23:20.226" v="7275" actId="165"/>
          <ac:grpSpMkLst>
            <pc:docMk/>
            <pc:sldMk cId="1574789452" sldId="3239"/>
            <ac:grpSpMk id="69" creationId="{9E09C1A5-A50A-23CD-2A6C-A1F372BD5DA5}"/>
          </ac:grpSpMkLst>
        </pc:grpChg>
        <pc:grpChg chg="add mod topLvl">
          <ac:chgData name="Pierugo Pace" userId="2226acec-25d1-48aa-b467-65eac8578bef" providerId="ADAL" clId="{79ED0C4E-7D31-4904-9824-CD42FD471766}" dt="2024-04-19T10:17:10.183" v="8257" actId="164"/>
          <ac:grpSpMkLst>
            <pc:docMk/>
            <pc:sldMk cId="1574789452" sldId="3239"/>
            <ac:grpSpMk id="75" creationId="{39F1EAD5-B143-94BB-2E68-6271D509E9C2}"/>
          </ac:grpSpMkLst>
        </pc:grpChg>
        <pc:grpChg chg="add del mod">
          <ac:chgData name="Pierugo Pace" userId="2226acec-25d1-48aa-b467-65eac8578bef" providerId="ADAL" clId="{79ED0C4E-7D31-4904-9824-CD42FD471766}" dt="2024-04-19T10:16:38.272" v="8251" actId="165"/>
          <ac:grpSpMkLst>
            <pc:docMk/>
            <pc:sldMk cId="1574789452" sldId="3239"/>
            <ac:grpSpMk id="76" creationId="{60511B06-9F3C-CB87-00F5-9C78C60FBDFF}"/>
          </ac:grpSpMkLst>
        </pc:grpChg>
        <pc:grpChg chg="add mod topLvl">
          <ac:chgData name="Pierugo Pace" userId="2226acec-25d1-48aa-b467-65eac8578bef" providerId="ADAL" clId="{79ED0C4E-7D31-4904-9824-CD42FD471766}" dt="2024-04-21T11:38:59.122" v="10828" actId="164"/>
          <ac:grpSpMkLst>
            <pc:docMk/>
            <pc:sldMk cId="1574789452" sldId="3239"/>
            <ac:grpSpMk id="77" creationId="{9BD1A00A-34B0-FFEC-1526-53A3FB944E27}"/>
          </ac:grpSpMkLst>
        </pc:grpChg>
        <pc:grpChg chg="add del mod">
          <ac:chgData name="Pierugo Pace" userId="2226acec-25d1-48aa-b467-65eac8578bef" providerId="ADAL" clId="{79ED0C4E-7D31-4904-9824-CD42FD471766}" dt="2024-04-19T09:33:23.892" v="7382" actId="165"/>
          <ac:grpSpMkLst>
            <pc:docMk/>
            <pc:sldMk cId="1574789452" sldId="3239"/>
            <ac:grpSpMk id="83" creationId="{05111D47-8719-7D18-9EA4-6D065766AF0E}"/>
          </ac:grpSpMkLst>
        </pc:grpChg>
        <pc:grpChg chg="del">
          <ac:chgData name="Pierugo Pace" userId="2226acec-25d1-48aa-b467-65eac8578bef" providerId="ADAL" clId="{79ED0C4E-7D31-4904-9824-CD42FD471766}" dt="2024-04-19T08:27:27.097" v="6241" actId="478"/>
          <ac:grpSpMkLst>
            <pc:docMk/>
            <pc:sldMk cId="1574789452" sldId="3239"/>
            <ac:grpSpMk id="86" creationId="{F2C04957-2EAF-7987-4F6F-976F33193B82}"/>
          </ac:grpSpMkLst>
        </pc:grpChg>
        <pc:grpChg chg="add del mod">
          <ac:chgData name="Pierugo Pace" userId="2226acec-25d1-48aa-b467-65eac8578bef" providerId="ADAL" clId="{79ED0C4E-7D31-4904-9824-CD42FD471766}" dt="2024-04-19T10:17:58.412" v="8269" actId="165"/>
          <ac:grpSpMkLst>
            <pc:docMk/>
            <pc:sldMk cId="1574789452" sldId="3239"/>
            <ac:grpSpMk id="87" creationId="{014DA68B-00B4-1159-5A81-6EDCD3DE8D91}"/>
          </ac:grpSpMkLst>
        </pc:grpChg>
        <pc:grpChg chg="add mod">
          <ac:chgData name="Pierugo Pace" userId="2226acec-25d1-48aa-b467-65eac8578bef" providerId="ADAL" clId="{79ED0C4E-7D31-4904-9824-CD42FD471766}" dt="2024-04-19T10:17:10.183" v="8257" actId="164"/>
          <ac:grpSpMkLst>
            <pc:docMk/>
            <pc:sldMk cId="1574789452" sldId="3239"/>
            <ac:grpSpMk id="96" creationId="{0783A3B6-3985-E903-F6A5-C274D6792D01}"/>
          </ac:grpSpMkLst>
        </pc:grpChg>
        <pc:grpChg chg="add del mod topLvl">
          <ac:chgData name="Pierugo Pace" userId="2226acec-25d1-48aa-b467-65eac8578bef" providerId="ADAL" clId="{79ED0C4E-7D31-4904-9824-CD42FD471766}" dt="2024-04-21T11:38:10.795" v="10807" actId="165"/>
          <ac:grpSpMkLst>
            <pc:docMk/>
            <pc:sldMk cId="1574789452" sldId="3239"/>
            <ac:grpSpMk id="97" creationId="{E4CE4614-3C12-AB55-6ED5-AB9EC9E78246}"/>
          </ac:grpSpMkLst>
        </pc:grpChg>
        <pc:grpChg chg="add del mod">
          <ac:chgData name="Pierugo Pace" userId="2226acec-25d1-48aa-b467-65eac8578bef" providerId="ADAL" clId="{79ED0C4E-7D31-4904-9824-CD42FD471766}" dt="2024-04-21T11:38:02.675" v="10806" actId="165"/>
          <ac:grpSpMkLst>
            <pc:docMk/>
            <pc:sldMk cId="1574789452" sldId="3239"/>
            <ac:grpSpMk id="98" creationId="{F91B70BA-EBB1-1888-5EDA-67A6516192CE}"/>
          </ac:grpSpMkLst>
        </pc:grpChg>
        <pc:picChg chg="mod">
          <ac:chgData name="Pierugo Pace" userId="2226acec-25d1-48aa-b467-65eac8578bef" providerId="ADAL" clId="{79ED0C4E-7D31-4904-9824-CD42FD471766}" dt="2024-04-19T09:16:30.004" v="7145" actId="1076"/>
          <ac:picMkLst>
            <pc:docMk/>
            <pc:sldMk cId="1574789452" sldId="3239"/>
            <ac:picMk id="8" creationId="{D7E08ABB-385F-C5CA-39D0-93E090B72348}"/>
          </ac:picMkLst>
        </pc:picChg>
        <pc:picChg chg="mod">
          <ac:chgData name="Pierugo Pace" userId="2226acec-25d1-48aa-b467-65eac8578bef" providerId="ADAL" clId="{79ED0C4E-7D31-4904-9824-CD42FD471766}" dt="2024-04-19T09:16:30.004" v="7145" actId="1076"/>
          <ac:picMkLst>
            <pc:docMk/>
            <pc:sldMk cId="1574789452" sldId="3239"/>
            <ac:picMk id="12" creationId="{804F013E-9331-4290-61CA-EE8C3C453EBB}"/>
          </ac:picMkLst>
        </pc:picChg>
        <pc:cxnChg chg="mod">
          <ac:chgData name="Pierugo Pace" userId="2226acec-25d1-48aa-b467-65eac8578bef" providerId="ADAL" clId="{79ED0C4E-7D31-4904-9824-CD42FD471766}" dt="2024-04-19T08:23:43.107" v="6204"/>
          <ac:cxnSpMkLst>
            <pc:docMk/>
            <pc:sldMk cId="1574789452" sldId="3239"/>
            <ac:cxnSpMk id="10" creationId="{C728339C-D74B-9711-8819-720CB13E0617}"/>
          </ac:cxnSpMkLst>
        </pc:cxnChg>
        <pc:cxnChg chg="mod">
          <ac:chgData name="Pierugo Pace" userId="2226acec-25d1-48aa-b467-65eac8578bef" providerId="ADAL" clId="{79ED0C4E-7D31-4904-9824-CD42FD471766}" dt="2024-04-19T09:16:30.004" v="7145" actId="1076"/>
          <ac:cxnSpMkLst>
            <pc:docMk/>
            <pc:sldMk cId="1574789452" sldId="3239"/>
            <ac:cxnSpMk id="17" creationId="{0C4A710F-A2D0-C7DB-38B5-A4FA00398C6E}"/>
          </ac:cxnSpMkLst>
        </pc:cxnChg>
        <pc:cxnChg chg="mod">
          <ac:chgData name="Pierugo Pace" userId="2226acec-25d1-48aa-b467-65eac8578bef" providerId="ADAL" clId="{79ED0C4E-7D31-4904-9824-CD42FD471766}" dt="2024-04-19T09:16:54.174" v="7146" actId="1076"/>
          <ac:cxnSpMkLst>
            <pc:docMk/>
            <pc:sldMk cId="1574789452" sldId="3239"/>
            <ac:cxnSpMk id="21" creationId="{CD34B921-F36D-5667-2A24-F85700D12F68}"/>
          </ac:cxnSpMkLst>
        </pc:cxnChg>
        <pc:cxnChg chg="mod topLvl">
          <ac:chgData name="Pierugo Pace" userId="2226acec-25d1-48aa-b467-65eac8578bef" providerId="ADAL" clId="{79ED0C4E-7D31-4904-9824-CD42FD471766}" dt="2024-04-19T09:21:45.236" v="7255"/>
          <ac:cxnSpMkLst>
            <pc:docMk/>
            <pc:sldMk cId="1574789452" sldId="3239"/>
            <ac:cxnSpMk id="23" creationId="{767EA9DA-8AB9-44D2-F30B-3A7A9B48FFB3}"/>
          </ac:cxnSpMkLst>
        </pc:cxnChg>
        <pc:cxnChg chg="add del mod">
          <ac:chgData name="Pierugo Pace" userId="2226acec-25d1-48aa-b467-65eac8578bef" providerId="ADAL" clId="{79ED0C4E-7D31-4904-9824-CD42FD471766}" dt="2024-04-21T11:40:52.788" v="10862" actId="478"/>
          <ac:cxnSpMkLst>
            <pc:docMk/>
            <pc:sldMk cId="1574789452" sldId="3239"/>
            <ac:cxnSpMk id="92" creationId="{D00B9461-3FA9-4BE5-8C97-4CFAB9DE279D}"/>
          </ac:cxnSpMkLst>
        </pc:cxnChg>
      </pc:sldChg>
      <pc:sldChg chg="addSp delSp modSp add mod modAnim modNotesTx">
        <pc:chgData name="Pierugo Pace" userId="2226acec-25d1-48aa-b467-65eac8578bef" providerId="ADAL" clId="{79ED0C4E-7D31-4904-9824-CD42FD471766}" dt="2024-04-21T11:40:40.147" v="10860"/>
        <pc:sldMkLst>
          <pc:docMk/>
          <pc:sldMk cId="1884329406" sldId="3240"/>
        </pc:sldMkLst>
        <pc:spChg chg="add mod">
          <ac:chgData name="Pierugo Pace" userId="2226acec-25d1-48aa-b467-65eac8578bef" providerId="ADAL" clId="{79ED0C4E-7D31-4904-9824-CD42FD471766}" dt="2024-04-19T09:42:06.813" v="7539" actId="1076"/>
          <ac:spMkLst>
            <pc:docMk/>
            <pc:sldMk cId="1884329406" sldId="3240"/>
            <ac:spMk id="2" creationId="{9D15C5BD-3FA7-FF1F-3452-6A90E02BFE98}"/>
          </ac:spMkLst>
        </pc:spChg>
        <pc:spChg chg="add mod">
          <ac:chgData name="Pierugo Pace" userId="2226acec-25d1-48aa-b467-65eac8578bef" providerId="ADAL" clId="{79ED0C4E-7D31-4904-9824-CD42FD471766}" dt="2024-04-19T09:42:06.813" v="7539" actId="1076"/>
          <ac:spMkLst>
            <pc:docMk/>
            <pc:sldMk cId="1884329406" sldId="3240"/>
            <ac:spMk id="3" creationId="{CB2F3E66-3650-EEB3-58CA-AC0435D83A50}"/>
          </ac:spMkLst>
        </pc:spChg>
        <pc:spChg chg="mod">
          <ac:chgData name="Pierugo Pace" userId="2226acec-25d1-48aa-b467-65eac8578bef" providerId="ADAL" clId="{79ED0C4E-7D31-4904-9824-CD42FD471766}" dt="2024-04-19T08:28:26.416" v="6254" actId="20577"/>
          <ac:spMkLst>
            <pc:docMk/>
            <pc:sldMk cId="1884329406" sldId="3240"/>
            <ac:spMk id="6" creationId="{1169EB5A-457A-52E5-1F9B-F973C09570D8}"/>
          </ac:spMkLst>
        </pc:spChg>
        <pc:spChg chg="mod">
          <ac:chgData name="Pierugo Pace" userId="2226acec-25d1-48aa-b467-65eac8578bef" providerId="ADAL" clId="{79ED0C4E-7D31-4904-9824-CD42FD471766}" dt="2024-04-21T11:39:55.236" v="10858" actId="20577"/>
          <ac:spMkLst>
            <pc:docMk/>
            <pc:sldMk cId="1884329406" sldId="3240"/>
            <ac:spMk id="7" creationId="{B2B89228-025D-C415-FFB1-F7CFC44D6D13}"/>
          </ac:spMkLst>
        </pc:spChg>
        <pc:spChg chg="del">
          <ac:chgData name="Pierugo Pace" userId="2226acec-25d1-48aa-b467-65eac8578bef" providerId="ADAL" clId="{79ED0C4E-7D31-4904-9824-CD42FD471766}" dt="2024-04-19T08:28:28.028" v="6255" actId="478"/>
          <ac:spMkLst>
            <pc:docMk/>
            <pc:sldMk cId="1884329406" sldId="3240"/>
            <ac:spMk id="10" creationId="{7488DB5F-855C-4BCC-2686-525EEB2090E4}"/>
          </ac:spMkLst>
        </pc:spChg>
      </pc:sldChg>
      <pc:sldChg chg="addSp delSp modSp add mod ord addAnim delAnim modAnim modShow">
        <pc:chgData name="Pierugo Pace" userId="2226acec-25d1-48aa-b467-65eac8578bef" providerId="ADAL" clId="{79ED0C4E-7D31-4904-9824-CD42FD471766}" dt="2024-04-23T12:35:40.542" v="12841"/>
        <pc:sldMkLst>
          <pc:docMk/>
          <pc:sldMk cId="802832909" sldId="3241"/>
        </pc:sldMkLst>
        <pc:spChg chg="add del mod">
          <ac:chgData name="Pierugo Pace" userId="2226acec-25d1-48aa-b467-65eac8578bef" providerId="ADAL" clId="{79ED0C4E-7D31-4904-9824-CD42FD471766}" dt="2024-04-19T15:34:21.837" v="10614" actId="478"/>
          <ac:spMkLst>
            <pc:docMk/>
            <pc:sldMk cId="802832909" sldId="3241"/>
            <ac:spMk id="3" creationId="{2831C096-295F-0494-AF42-1B2C814CA3D6}"/>
          </ac:spMkLst>
        </pc:spChg>
        <pc:spChg chg="mod">
          <ac:chgData name="Pierugo Pace" userId="2226acec-25d1-48aa-b467-65eac8578bef" providerId="ADAL" clId="{79ED0C4E-7D31-4904-9824-CD42FD471766}" dt="2024-04-19T15:31:19.524" v="10516"/>
          <ac:spMkLst>
            <pc:docMk/>
            <pc:sldMk cId="802832909" sldId="3241"/>
            <ac:spMk id="4" creationId="{950C71FA-31D6-E24E-82F0-93559BE56F80}"/>
          </ac:spMkLst>
        </pc:spChg>
        <pc:spChg chg="add del mod">
          <ac:chgData name="Pierugo Pace" userId="2226acec-25d1-48aa-b467-65eac8578bef" providerId="ADAL" clId="{79ED0C4E-7D31-4904-9824-CD42FD471766}" dt="2024-04-21T09:23:07.709" v="10738" actId="478"/>
          <ac:spMkLst>
            <pc:docMk/>
            <pc:sldMk cId="802832909" sldId="3241"/>
            <ac:spMk id="5" creationId="{CA5ED071-6CBA-AF3E-CDBE-2E1E5FFABC4C}"/>
          </ac:spMkLst>
        </pc:spChg>
        <pc:spChg chg="add del mod">
          <ac:chgData name="Pierugo Pace" userId="2226acec-25d1-48aa-b467-65eac8578bef" providerId="ADAL" clId="{79ED0C4E-7D31-4904-9824-CD42FD471766}" dt="2024-04-19T15:32:29.709" v="10582" actId="478"/>
          <ac:spMkLst>
            <pc:docMk/>
            <pc:sldMk cId="802832909" sldId="3241"/>
            <ac:spMk id="5" creationId="{EC1D3909-932D-1C4E-9F8F-1E77B13BBB30}"/>
          </ac:spMkLst>
        </pc:spChg>
        <pc:spChg chg="add mod">
          <ac:chgData name="Pierugo Pace" userId="2226acec-25d1-48aa-b467-65eac8578bef" providerId="ADAL" clId="{79ED0C4E-7D31-4904-9824-CD42FD471766}" dt="2024-04-21T09:23:51.963" v="10745" actId="164"/>
          <ac:spMkLst>
            <pc:docMk/>
            <pc:sldMk cId="802832909" sldId="3241"/>
            <ac:spMk id="7" creationId="{A18360BC-F32A-35D9-F8FF-DB09267E3002}"/>
          </ac:spMkLst>
        </pc:spChg>
        <pc:spChg chg="del">
          <ac:chgData name="Pierugo Pace" userId="2226acec-25d1-48aa-b467-65eac8578bef" providerId="ADAL" clId="{79ED0C4E-7D31-4904-9824-CD42FD471766}" dt="2024-04-19T15:31:10.306" v="10513" actId="478"/>
          <ac:spMkLst>
            <pc:docMk/>
            <pc:sldMk cId="802832909" sldId="3241"/>
            <ac:spMk id="7" creationId="{D1E0001C-9AA9-9560-1D57-203F3A255B0A}"/>
          </ac:spMkLst>
        </pc:spChg>
        <pc:spChg chg="del">
          <ac:chgData name="Pierugo Pace" userId="2226acec-25d1-48aa-b467-65eac8578bef" providerId="ADAL" clId="{79ED0C4E-7D31-4904-9824-CD42FD471766}" dt="2024-04-19T15:31:06.042" v="10511" actId="478"/>
          <ac:spMkLst>
            <pc:docMk/>
            <pc:sldMk cId="802832909" sldId="3241"/>
            <ac:spMk id="8" creationId="{C565A57D-AF93-C66F-09D8-F6A35E695D64}"/>
          </ac:spMkLst>
        </pc:spChg>
        <pc:spChg chg="del">
          <ac:chgData name="Pierugo Pace" userId="2226acec-25d1-48aa-b467-65eac8578bef" providerId="ADAL" clId="{79ED0C4E-7D31-4904-9824-CD42FD471766}" dt="2024-04-19T15:31:11.687" v="10514" actId="478"/>
          <ac:spMkLst>
            <pc:docMk/>
            <pc:sldMk cId="802832909" sldId="3241"/>
            <ac:spMk id="9" creationId="{C035EE60-5929-A688-8269-77DEAB7C1CC8}"/>
          </ac:spMkLst>
        </pc:spChg>
        <pc:spChg chg="add del mod">
          <ac:chgData name="Pierugo Pace" userId="2226acec-25d1-48aa-b467-65eac8578bef" providerId="ADAL" clId="{79ED0C4E-7D31-4904-9824-CD42FD471766}" dt="2024-04-19T15:32:28.290" v="10581" actId="478"/>
          <ac:spMkLst>
            <pc:docMk/>
            <pc:sldMk cId="802832909" sldId="3241"/>
            <ac:spMk id="10" creationId="{00000000-0000-0000-0000-000000000000}"/>
          </ac:spMkLst>
        </pc:spChg>
        <pc:spChg chg="add del mod">
          <ac:chgData name="Pierugo Pace" userId="2226acec-25d1-48aa-b467-65eac8578bef" providerId="ADAL" clId="{79ED0C4E-7D31-4904-9824-CD42FD471766}" dt="2024-04-19T15:32:25.178" v="10578" actId="478"/>
          <ac:spMkLst>
            <pc:docMk/>
            <pc:sldMk cId="802832909" sldId="3241"/>
            <ac:spMk id="11" creationId="{00000000-0000-0000-0000-000000000000}"/>
          </ac:spMkLst>
        </pc:spChg>
        <pc:spChg chg="add del">
          <ac:chgData name="Pierugo Pace" userId="2226acec-25d1-48aa-b467-65eac8578bef" providerId="ADAL" clId="{79ED0C4E-7D31-4904-9824-CD42FD471766}" dt="2024-04-19T15:32:01.969" v="10562" actId="478"/>
          <ac:spMkLst>
            <pc:docMk/>
            <pc:sldMk cId="802832909" sldId="3241"/>
            <ac:spMk id="12" creationId="{00000000-0000-0000-0000-000000000000}"/>
          </ac:spMkLst>
        </pc:spChg>
        <pc:spChg chg="mod">
          <ac:chgData name="Pierugo Pace" userId="2226acec-25d1-48aa-b467-65eac8578bef" providerId="ADAL" clId="{79ED0C4E-7D31-4904-9824-CD42FD471766}" dt="2024-04-19T15:31:21.037" v="10517" actId="20577"/>
          <ac:spMkLst>
            <pc:docMk/>
            <pc:sldMk cId="802832909" sldId="3241"/>
            <ac:spMk id="13" creationId="{00000000-0000-0000-0000-000000000000}"/>
          </ac:spMkLst>
        </pc:spChg>
        <pc:spChg chg="add del mod">
          <ac:chgData name="Pierugo Pace" userId="2226acec-25d1-48aa-b467-65eac8578bef" providerId="ADAL" clId="{79ED0C4E-7D31-4904-9824-CD42FD471766}" dt="2024-04-19T15:32:01.130" v="10561" actId="478"/>
          <ac:spMkLst>
            <pc:docMk/>
            <pc:sldMk cId="802832909" sldId="3241"/>
            <ac:spMk id="14" creationId="{00000000-0000-0000-0000-000000000000}"/>
          </ac:spMkLst>
        </pc:spChg>
        <pc:spChg chg="add del">
          <ac:chgData name="Pierugo Pace" userId="2226acec-25d1-48aa-b467-65eac8578bef" providerId="ADAL" clId="{79ED0C4E-7D31-4904-9824-CD42FD471766}" dt="2024-04-19T15:31:59.367" v="10560" actId="478"/>
          <ac:spMkLst>
            <pc:docMk/>
            <pc:sldMk cId="802832909" sldId="3241"/>
            <ac:spMk id="15" creationId="{00000000-0000-0000-0000-000000000000}"/>
          </ac:spMkLst>
        </pc:spChg>
        <pc:spChg chg="del">
          <ac:chgData name="Pierugo Pace" userId="2226acec-25d1-48aa-b467-65eac8578bef" providerId="ADAL" clId="{79ED0C4E-7D31-4904-9824-CD42FD471766}" dt="2024-04-19T15:31:12.789" v="10515" actId="478"/>
          <ac:spMkLst>
            <pc:docMk/>
            <pc:sldMk cId="802832909" sldId="3241"/>
            <ac:spMk id="16" creationId="{63DF8344-B0A7-36DF-9786-191003C43221}"/>
          </ac:spMkLst>
        </pc:spChg>
        <pc:spChg chg="add del mod">
          <ac:chgData name="Pierugo Pace" userId="2226acec-25d1-48aa-b467-65eac8578bef" providerId="ADAL" clId="{79ED0C4E-7D31-4904-9824-CD42FD471766}" dt="2024-04-19T15:31:57.960" v="10558" actId="478"/>
          <ac:spMkLst>
            <pc:docMk/>
            <pc:sldMk cId="802832909" sldId="3241"/>
            <ac:spMk id="17" creationId="{FE8D8050-5FEA-D875-B526-3025EABD1B5C}"/>
          </ac:spMkLst>
        </pc:spChg>
        <pc:spChg chg="add del mod">
          <ac:chgData name="Pierugo Pace" userId="2226acec-25d1-48aa-b467-65eac8578bef" providerId="ADAL" clId="{79ED0C4E-7D31-4904-9824-CD42FD471766}" dt="2024-04-19T15:31:57.534" v="10555" actId="478"/>
          <ac:spMkLst>
            <pc:docMk/>
            <pc:sldMk cId="802832909" sldId="3241"/>
            <ac:spMk id="19" creationId="{84AC1D7B-BD0D-F2D6-463A-F6AB2A998CC3}"/>
          </ac:spMkLst>
        </pc:spChg>
        <pc:spChg chg="del">
          <ac:chgData name="Pierugo Pace" userId="2226acec-25d1-48aa-b467-65eac8578bef" providerId="ADAL" clId="{79ED0C4E-7D31-4904-9824-CD42FD471766}" dt="2024-04-19T15:31:08.751" v="10512" actId="478"/>
          <ac:spMkLst>
            <pc:docMk/>
            <pc:sldMk cId="802832909" sldId="3241"/>
            <ac:spMk id="21" creationId="{00000000-0000-0000-0000-000000000000}"/>
          </ac:spMkLst>
        </pc:spChg>
        <pc:spChg chg="add del mod">
          <ac:chgData name="Pierugo Pace" userId="2226acec-25d1-48aa-b467-65eac8578bef" providerId="ADAL" clId="{79ED0C4E-7D31-4904-9824-CD42FD471766}" dt="2024-04-19T15:31:56.691" v="10554" actId="478"/>
          <ac:spMkLst>
            <pc:docMk/>
            <pc:sldMk cId="802832909" sldId="3241"/>
            <ac:spMk id="23" creationId="{87F9CB6B-7516-3CAA-FA4D-BB0E1A31A1E4}"/>
          </ac:spMkLst>
        </pc:spChg>
        <pc:spChg chg="add del mod">
          <ac:chgData name="Pierugo Pace" userId="2226acec-25d1-48aa-b467-65eac8578bef" providerId="ADAL" clId="{79ED0C4E-7D31-4904-9824-CD42FD471766}" dt="2024-04-19T15:31:56.467" v="10553" actId="478"/>
          <ac:spMkLst>
            <pc:docMk/>
            <pc:sldMk cId="802832909" sldId="3241"/>
            <ac:spMk id="25" creationId="{6AA413EC-498E-4284-4390-5496A30F2100}"/>
          </ac:spMkLst>
        </pc:spChg>
        <pc:spChg chg="add del mod">
          <ac:chgData name="Pierugo Pace" userId="2226acec-25d1-48aa-b467-65eac8578bef" providerId="ADAL" clId="{79ED0C4E-7D31-4904-9824-CD42FD471766}" dt="2024-04-19T15:31:56.460" v="10552" actId="478"/>
          <ac:spMkLst>
            <pc:docMk/>
            <pc:sldMk cId="802832909" sldId="3241"/>
            <ac:spMk id="27" creationId="{F9A8B029-D0C5-1D75-477A-BC2BF854617C}"/>
          </ac:spMkLst>
        </pc:spChg>
        <pc:spChg chg="add del mod">
          <ac:chgData name="Pierugo Pace" userId="2226acec-25d1-48aa-b467-65eac8578bef" providerId="ADAL" clId="{79ED0C4E-7D31-4904-9824-CD42FD471766}" dt="2024-04-19T15:33:11.372" v="10595" actId="478"/>
          <ac:spMkLst>
            <pc:docMk/>
            <pc:sldMk cId="802832909" sldId="3241"/>
            <ac:spMk id="29" creationId="{902B937F-7CAE-A746-9CB4-56C51B0885E9}"/>
          </ac:spMkLst>
        </pc:spChg>
        <pc:spChg chg="add del mod">
          <ac:chgData name="Pierugo Pace" userId="2226acec-25d1-48aa-b467-65eac8578bef" providerId="ADAL" clId="{79ED0C4E-7D31-4904-9824-CD42FD471766}" dt="2024-04-19T15:33:10.432" v="10594" actId="478"/>
          <ac:spMkLst>
            <pc:docMk/>
            <pc:sldMk cId="802832909" sldId="3241"/>
            <ac:spMk id="31" creationId="{3CE7EC7D-D5FA-670C-401A-6C09996B33A4}"/>
          </ac:spMkLst>
        </pc:spChg>
        <pc:spChg chg="add del mod">
          <ac:chgData name="Pierugo Pace" userId="2226acec-25d1-48aa-b467-65eac8578bef" providerId="ADAL" clId="{79ED0C4E-7D31-4904-9824-CD42FD471766}" dt="2024-04-19T15:33:09.090" v="10593" actId="478"/>
          <ac:spMkLst>
            <pc:docMk/>
            <pc:sldMk cId="802832909" sldId="3241"/>
            <ac:spMk id="33" creationId="{FE63FABB-B563-E503-9E9E-10F84EDB4051}"/>
          </ac:spMkLst>
        </pc:spChg>
        <pc:spChg chg="add del mod">
          <ac:chgData name="Pierugo Pace" userId="2226acec-25d1-48aa-b467-65eac8578bef" providerId="ADAL" clId="{79ED0C4E-7D31-4904-9824-CD42FD471766}" dt="2024-04-19T15:33:07.831" v="10592" actId="478"/>
          <ac:spMkLst>
            <pc:docMk/>
            <pc:sldMk cId="802832909" sldId="3241"/>
            <ac:spMk id="35" creationId="{3347E1BD-FD23-3850-699C-A89A03417E5C}"/>
          </ac:spMkLst>
        </pc:spChg>
        <pc:spChg chg="add del mod">
          <ac:chgData name="Pierugo Pace" userId="2226acec-25d1-48aa-b467-65eac8578bef" providerId="ADAL" clId="{79ED0C4E-7D31-4904-9824-CD42FD471766}" dt="2024-04-19T15:32:21.996" v="10574" actId="478"/>
          <ac:spMkLst>
            <pc:docMk/>
            <pc:sldMk cId="802832909" sldId="3241"/>
            <ac:spMk id="37" creationId="{27DB493B-F42E-4ECE-2B5A-757208F07DBD}"/>
          </ac:spMkLst>
        </pc:spChg>
        <pc:spChg chg="add del mod">
          <ac:chgData name="Pierugo Pace" userId="2226acec-25d1-48aa-b467-65eac8578bef" providerId="ADAL" clId="{79ED0C4E-7D31-4904-9824-CD42FD471766}" dt="2024-04-19T15:33:03.838" v="10590" actId="478"/>
          <ac:spMkLst>
            <pc:docMk/>
            <pc:sldMk cId="802832909" sldId="3241"/>
            <ac:spMk id="39" creationId="{AF27967A-4EE7-4301-F28A-0B86B2E709AF}"/>
          </ac:spMkLst>
        </pc:spChg>
        <pc:spChg chg="add mod">
          <ac:chgData name="Pierugo Pace" userId="2226acec-25d1-48aa-b467-65eac8578bef" providerId="ADAL" clId="{79ED0C4E-7D31-4904-9824-CD42FD471766}" dt="2024-04-21T09:21:31.613" v="10719" actId="20577"/>
          <ac:spMkLst>
            <pc:docMk/>
            <pc:sldMk cId="802832909" sldId="3241"/>
            <ac:spMk id="40" creationId="{AFC39993-4D9F-81F8-55BE-40C6CD06ED03}"/>
          </ac:spMkLst>
        </pc:spChg>
        <pc:spChg chg="add del mod">
          <ac:chgData name="Pierugo Pace" userId="2226acec-25d1-48aa-b467-65eac8578bef" providerId="ADAL" clId="{79ED0C4E-7D31-4904-9824-CD42FD471766}" dt="2024-04-19T15:33:05.505" v="10591" actId="478"/>
          <ac:spMkLst>
            <pc:docMk/>
            <pc:sldMk cId="802832909" sldId="3241"/>
            <ac:spMk id="42" creationId="{AA06B2C8-EEF7-05D6-479C-7D559A56C063}"/>
          </ac:spMkLst>
        </pc:spChg>
        <pc:spChg chg="add mod">
          <ac:chgData name="Pierugo Pace" userId="2226acec-25d1-48aa-b467-65eac8578bef" providerId="ADAL" clId="{79ED0C4E-7D31-4904-9824-CD42FD471766}" dt="2024-04-19T15:34:37.581" v="10616" actId="1076"/>
          <ac:spMkLst>
            <pc:docMk/>
            <pc:sldMk cId="802832909" sldId="3241"/>
            <ac:spMk id="43" creationId="{67A0106C-958C-B8F0-36E5-94296D620F30}"/>
          </ac:spMkLst>
        </pc:spChg>
        <pc:grpChg chg="add mod">
          <ac:chgData name="Pierugo Pace" userId="2226acec-25d1-48aa-b467-65eac8578bef" providerId="ADAL" clId="{79ED0C4E-7D31-4904-9824-CD42FD471766}" dt="2024-04-21T09:23:51.963" v="10745" actId="164"/>
          <ac:grpSpMkLst>
            <pc:docMk/>
            <pc:sldMk cId="802832909" sldId="3241"/>
            <ac:grpSpMk id="8" creationId="{EDB7043F-FA42-A69D-F9EC-47DE66A98A01}"/>
          </ac:grpSpMkLst>
        </pc:grpChg>
        <pc:picChg chg="add mod">
          <ac:chgData name="Pierugo Pace" userId="2226acec-25d1-48aa-b467-65eac8578bef" providerId="ADAL" clId="{79ED0C4E-7D31-4904-9824-CD42FD471766}" dt="2024-04-21T09:20:39.200" v="10714" actId="1076"/>
          <ac:picMkLst>
            <pc:docMk/>
            <pc:sldMk cId="802832909" sldId="3241"/>
            <ac:picMk id="2" creationId="{36718EC9-E407-54F9-C4F5-3A506BDF1D08}"/>
          </ac:picMkLst>
        </pc:picChg>
        <pc:picChg chg="add mod">
          <ac:chgData name="Pierugo Pace" userId="2226acec-25d1-48aa-b467-65eac8578bef" providerId="ADAL" clId="{79ED0C4E-7D31-4904-9824-CD42FD471766}" dt="2024-04-21T09:23:51.963" v="10745" actId="164"/>
          <ac:picMkLst>
            <pc:docMk/>
            <pc:sldMk cId="802832909" sldId="3241"/>
            <ac:picMk id="3" creationId="{280D4225-D089-4220-0C2C-9BA31DDEAA6C}"/>
          </ac:picMkLst>
        </pc:picChg>
        <pc:picChg chg="add del mod">
          <ac:chgData name="Pierugo Pace" userId="2226acec-25d1-48aa-b467-65eac8578bef" providerId="ADAL" clId="{79ED0C4E-7D31-4904-9824-CD42FD471766}" dt="2024-04-21T09:23:13.920" v="10740" actId="34307"/>
          <ac:picMkLst>
            <pc:docMk/>
            <pc:sldMk cId="802832909" sldId="3241"/>
            <ac:picMk id="6" creationId="{F5F0A520-ADFE-E94B-9A3F-DB022CDA92BA}"/>
          </ac:picMkLst>
        </pc:picChg>
        <pc:picChg chg="mod">
          <ac:chgData name="Pierugo Pace" userId="2226acec-25d1-48aa-b467-65eac8578bef" providerId="ADAL" clId="{79ED0C4E-7D31-4904-9824-CD42FD471766}" dt="2024-04-21T09:20:38.574" v="10713" actId="14100"/>
          <ac:picMkLst>
            <pc:docMk/>
            <pc:sldMk cId="802832909" sldId="3241"/>
            <ac:picMk id="20" creationId="{00000000-0000-0000-0000-000000000000}"/>
          </ac:picMkLst>
        </pc:picChg>
      </pc:sldChg>
      <pc:sldChg chg="addSp delSp modSp add mod ord delAnim modAnim modShow">
        <pc:chgData name="Pierugo Pace" userId="2226acec-25d1-48aa-b467-65eac8578bef" providerId="ADAL" clId="{79ED0C4E-7D31-4904-9824-CD42FD471766}" dt="2024-04-24T09:47:13.035" v="13197"/>
        <pc:sldMkLst>
          <pc:docMk/>
          <pc:sldMk cId="2891126277" sldId="3242"/>
        </pc:sldMkLst>
        <pc:spChg chg="mod">
          <ac:chgData name="Pierugo Pace" userId="2226acec-25d1-48aa-b467-65eac8578bef" providerId="ADAL" clId="{79ED0C4E-7D31-4904-9824-CD42FD471766}" dt="2024-04-23T12:32:40.637" v="12806" actId="20577"/>
          <ac:spMkLst>
            <pc:docMk/>
            <pc:sldMk cId="2891126277" sldId="3242"/>
            <ac:spMk id="5" creationId="{00000000-0000-0000-0000-000000000000}"/>
          </ac:spMkLst>
        </pc:spChg>
        <pc:spChg chg="mod">
          <ac:chgData name="Pierugo Pace" userId="2226acec-25d1-48aa-b467-65eac8578bef" providerId="ADAL" clId="{79ED0C4E-7D31-4904-9824-CD42FD471766}" dt="2024-04-22T12:38:20.028" v="12048" actId="20577"/>
          <ac:spMkLst>
            <pc:docMk/>
            <pc:sldMk cId="2891126277" sldId="3242"/>
            <ac:spMk id="7" creationId="{00000000-0000-0000-0000-000000000000}"/>
          </ac:spMkLst>
        </pc:spChg>
        <pc:spChg chg="mod">
          <ac:chgData name="Pierugo Pace" userId="2226acec-25d1-48aa-b467-65eac8578bef" providerId="ADAL" clId="{79ED0C4E-7D31-4904-9824-CD42FD471766}" dt="2024-04-23T12:32:43.194" v="12808" actId="20577"/>
          <ac:spMkLst>
            <pc:docMk/>
            <pc:sldMk cId="2891126277" sldId="3242"/>
            <ac:spMk id="31" creationId="{00000000-0000-0000-0000-000000000000}"/>
          </ac:spMkLst>
        </pc:spChg>
        <pc:picChg chg="add mod">
          <ac:chgData name="Pierugo Pace" userId="2226acec-25d1-48aa-b467-65eac8578bef" providerId="ADAL" clId="{79ED0C4E-7D31-4904-9824-CD42FD471766}" dt="2024-04-22T06:36:03.726" v="11386"/>
          <ac:picMkLst>
            <pc:docMk/>
            <pc:sldMk cId="2891126277" sldId="3242"/>
            <ac:picMk id="2" creationId="{78AF38B7-7817-013D-F9A6-1A5DFA5898F5}"/>
          </ac:picMkLst>
        </pc:picChg>
        <pc:picChg chg="mod">
          <ac:chgData name="Pierugo Pace" userId="2226acec-25d1-48aa-b467-65eac8578bef" providerId="ADAL" clId="{79ED0C4E-7D31-4904-9824-CD42FD471766}" dt="2024-04-22T15:19:20.722" v="12172" actId="1076"/>
          <ac:picMkLst>
            <pc:docMk/>
            <pc:sldMk cId="2891126277" sldId="3242"/>
            <ac:picMk id="23" creationId="{00000000-0000-0000-0000-000000000000}"/>
          </ac:picMkLst>
        </pc:picChg>
        <pc:picChg chg="del mod">
          <ac:chgData name="Pierugo Pace" userId="2226acec-25d1-48aa-b467-65eac8578bef" providerId="ADAL" clId="{79ED0C4E-7D31-4904-9824-CD42FD471766}" dt="2024-04-22T15:17:15.524" v="12130" actId="478"/>
          <ac:picMkLst>
            <pc:docMk/>
            <pc:sldMk cId="2891126277" sldId="3242"/>
            <ac:picMk id="26" creationId="{00000000-0000-0000-0000-000000000000}"/>
          </ac:picMkLst>
        </pc:picChg>
        <pc:cxnChg chg="del mod">
          <ac:chgData name="Pierugo Pace" userId="2226acec-25d1-48aa-b467-65eac8578bef" providerId="ADAL" clId="{79ED0C4E-7D31-4904-9824-CD42FD471766}" dt="2024-04-22T15:17:17.209" v="12131" actId="478"/>
          <ac:cxnSpMkLst>
            <pc:docMk/>
            <pc:sldMk cId="2891126277" sldId="3242"/>
            <ac:cxnSpMk id="17" creationId="{00000000-0000-0000-0000-000000000000}"/>
          </ac:cxnSpMkLst>
        </pc:cxnChg>
        <pc:cxnChg chg="del mod">
          <ac:chgData name="Pierugo Pace" userId="2226acec-25d1-48aa-b467-65eac8578bef" providerId="ADAL" clId="{79ED0C4E-7D31-4904-9824-CD42FD471766}" dt="2024-04-22T15:17:18.185" v="12132" actId="478"/>
          <ac:cxnSpMkLst>
            <pc:docMk/>
            <pc:sldMk cId="2891126277" sldId="3242"/>
            <ac:cxnSpMk id="18" creationId="{00000000-0000-0000-0000-000000000000}"/>
          </ac:cxnSpMkLst>
        </pc:cxnChg>
      </pc:sldChg>
      <pc:sldChg chg="addSp delSp modSp new del mod modClrScheme chgLayout">
        <pc:chgData name="Pierugo Pace" userId="2226acec-25d1-48aa-b467-65eac8578bef" providerId="ADAL" clId="{79ED0C4E-7D31-4904-9824-CD42FD471766}" dt="2024-04-23T12:37:20.125" v="12911" actId="2696"/>
        <pc:sldMkLst>
          <pc:docMk/>
          <pc:sldMk cId="3587174591" sldId="3243"/>
        </pc:sldMkLst>
        <pc:spChg chg="del mod ord">
          <ac:chgData name="Pierugo Pace" userId="2226acec-25d1-48aa-b467-65eac8578bef" providerId="ADAL" clId="{79ED0C4E-7D31-4904-9824-CD42FD471766}" dt="2024-04-23T12:37:00.233" v="12888" actId="700"/>
          <ac:spMkLst>
            <pc:docMk/>
            <pc:sldMk cId="3587174591" sldId="3243"/>
            <ac:spMk id="2" creationId="{C06F5AC0-ADAD-1FFF-9ACE-009C28312A6F}"/>
          </ac:spMkLst>
        </pc:spChg>
        <pc:spChg chg="del">
          <ac:chgData name="Pierugo Pace" userId="2226acec-25d1-48aa-b467-65eac8578bef" providerId="ADAL" clId="{79ED0C4E-7D31-4904-9824-CD42FD471766}" dt="2024-04-23T12:37:00.233" v="12888" actId="700"/>
          <ac:spMkLst>
            <pc:docMk/>
            <pc:sldMk cId="3587174591" sldId="3243"/>
            <ac:spMk id="3" creationId="{58A4CC30-5130-583C-40E0-18EF2315DAF5}"/>
          </ac:spMkLst>
        </pc:spChg>
        <pc:spChg chg="mod ord">
          <ac:chgData name="Pierugo Pace" userId="2226acec-25d1-48aa-b467-65eac8578bef" providerId="ADAL" clId="{79ED0C4E-7D31-4904-9824-CD42FD471766}" dt="2024-04-23T12:37:00.233" v="12888" actId="700"/>
          <ac:spMkLst>
            <pc:docMk/>
            <pc:sldMk cId="3587174591" sldId="3243"/>
            <ac:spMk id="4" creationId="{6EE36A5F-9D48-CA6E-2506-686E0C7E0846}"/>
          </ac:spMkLst>
        </pc:spChg>
        <pc:spChg chg="mod ord">
          <ac:chgData name="Pierugo Pace" userId="2226acec-25d1-48aa-b467-65eac8578bef" providerId="ADAL" clId="{79ED0C4E-7D31-4904-9824-CD42FD471766}" dt="2024-04-23T12:37:03.034" v="12889" actId="21"/>
          <ac:spMkLst>
            <pc:docMk/>
            <pc:sldMk cId="3587174591" sldId="3243"/>
            <ac:spMk id="5" creationId="{7D825075-AA46-2736-115B-00BD977B18B8}"/>
          </ac:spMkLst>
        </pc:spChg>
        <pc:spChg chg="add mod ord">
          <ac:chgData name="Pierugo Pace" userId="2226acec-25d1-48aa-b467-65eac8578bef" providerId="ADAL" clId="{79ED0C4E-7D31-4904-9824-CD42FD471766}" dt="2024-04-23T12:37:03.859" v="12890"/>
          <ac:spMkLst>
            <pc:docMk/>
            <pc:sldMk cId="3587174591" sldId="3243"/>
            <ac:spMk id="6" creationId="{8DEB2C06-6C1F-4FE9-2A2C-C48A4B6436B0}"/>
          </ac:spMkLst>
        </pc:spChg>
      </pc:sldChg>
      <pc:sldChg chg="addSp delSp modSp add mod ord addAnim delAnim modAnim modNotesTx">
        <pc:chgData name="Pierugo Pace" userId="2226acec-25d1-48aa-b467-65eac8578bef" providerId="ADAL" clId="{79ED0C4E-7D31-4904-9824-CD42FD471766}" dt="2024-04-24T09:48:43.744" v="13221" actId="14100"/>
        <pc:sldMkLst>
          <pc:docMk/>
          <pc:sldMk cId="3168781126" sldId="3244"/>
        </pc:sldMkLst>
        <pc:spChg chg="del">
          <ac:chgData name="Pierugo Pace" userId="2226acec-25d1-48aa-b467-65eac8578bef" providerId="ADAL" clId="{79ED0C4E-7D31-4904-9824-CD42FD471766}" dt="2024-04-23T12:37:33.148" v="12957" actId="478"/>
          <ac:spMkLst>
            <pc:docMk/>
            <pc:sldMk cId="3168781126" sldId="3244"/>
            <ac:spMk id="2" creationId="{6A2B14B9-40CC-CE50-2DE7-EF1FE4A6D12B}"/>
          </ac:spMkLst>
        </pc:spChg>
        <pc:spChg chg="mod">
          <ac:chgData name="Pierugo Pace" userId="2226acec-25d1-48aa-b467-65eac8578bef" providerId="ADAL" clId="{79ED0C4E-7D31-4904-9824-CD42FD471766}" dt="2024-04-23T13:11:18.897" v="13140" actId="14100"/>
          <ac:spMkLst>
            <pc:docMk/>
            <pc:sldMk cId="3168781126" sldId="3244"/>
            <ac:spMk id="3" creationId="{8DC4B8A9-87F5-3C46-8C8C-5B396166EEC8}"/>
          </ac:spMkLst>
        </pc:spChg>
        <pc:spChg chg="mod">
          <ac:chgData name="Pierugo Pace" userId="2226acec-25d1-48aa-b467-65eac8578bef" providerId="ADAL" clId="{79ED0C4E-7D31-4904-9824-CD42FD471766}" dt="2024-04-23T12:37:16.846" v="12910" actId="20577"/>
          <ac:spMkLst>
            <pc:docMk/>
            <pc:sldMk cId="3168781126" sldId="3244"/>
            <ac:spMk id="4" creationId="{950C71FA-31D6-E24E-82F0-93559BE56F80}"/>
          </ac:spMkLst>
        </pc:spChg>
        <pc:spChg chg="del mod">
          <ac:chgData name="Pierugo Pace" userId="2226acec-25d1-48aa-b467-65eac8578bef" providerId="ADAL" clId="{79ED0C4E-7D31-4904-9824-CD42FD471766}" dt="2024-04-23T13:10:59.834" v="13137" actId="478"/>
          <ac:spMkLst>
            <pc:docMk/>
            <pc:sldMk cId="3168781126" sldId="3244"/>
            <ac:spMk id="10" creationId="{1D63D321-1148-78D7-4BCB-7FCBA6E50859}"/>
          </ac:spMkLst>
        </pc:spChg>
        <pc:picChg chg="add del mod">
          <ac:chgData name="Pierugo Pace" userId="2226acec-25d1-48aa-b467-65eac8578bef" providerId="ADAL" clId="{79ED0C4E-7D31-4904-9824-CD42FD471766}" dt="2024-04-24T08:03:28.870" v="13195" actId="478"/>
          <ac:picMkLst>
            <pc:docMk/>
            <pc:sldMk cId="3168781126" sldId="3244"/>
            <ac:picMk id="2" creationId="{4F5047B9-5784-7A15-D7D5-89A726EB41F1}"/>
          </ac:picMkLst>
        </pc:picChg>
        <pc:picChg chg="add del mod">
          <ac:chgData name="Pierugo Pace" userId="2226acec-25d1-48aa-b467-65eac8578bef" providerId="ADAL" clId="{79ED0C4E-7D31-4904-9824-CD42FD471766}" dt="2024-04-23T13:12:45.253" v="13150" actId="14826"/>
          <ac:picMkLst>
            <pc:docMk/>
            <pc:sldMk cId="3168781126" sldId="3244"/>
            <ac:picMk id="6" creationId="{5C4050AC-ECF6-CC25-EC70-2C77D600FC09}"/>
          </ac:picMkLst>
        </pc:picChg>
        <pc:picChg chg="add mod">
          <ac:chgData name="Pierugo Pace" userId="2226acec-25d1-48aa-b467-65eac8578bef" providerId="ADAL" clId="{79ED0C4E-7D31-4904-9824-CD42FD471766}" dt="2024-04-24T08:03:27.093" v="13194"/>
          <ac:picMkLst>
            <pc:docMk/>
            <pc:sldMk cId="3168781126" sldId="3244"/>
            <ac:picMk id="7" creationId="{19C40F14-C46F-2BFA-47DD-10FA9AF7D853}"/>
          </ac:picMkLst>
        </pc:picChg>
        <pc:picChg chg="add del mod">
          <ac:chgData name="Pierugo Pace" userId="2226acec-25d1-48aa-b467-65eac8578bef" providerId="ADAL" clId="{79ED0C4E-7D31-4904-9824-CD42FD471766}" dt="2024-04-23T13:23:44.582" v="13191" actId="14826"/>
          <ac:picMkLst>
            <pc:docMk/>
            <pc:sldMk cId="3168781126" sldId="3244"/>
            <ac:picMk id="14" creationId="{E1415A8D-4CFB-508E-3926-846B5F23E0B1}"/>
          </ac:picMkLst>
        </pc:picChg>
        <pc:cxnChg chg="add mod">
          <ac:chgData name="Pierugo Pace" userId="2226acec-25d1-48aa-b467-65eac8578bef" providerId="ADAL" clId="{79ED0C4E-7D31-4904-9824-CD42FD471766}" dt="2024-04-24T09:48:38.174" v="13209" actId="14100"/>
          <ac:cxnSpMkLst>
            <pc:docMk/>
            <pc:sldMk cId="3168781126" sldId="3244"/>
            <ac:cxnSpMk id="9" creationId="{320E9B8D-CDF0-4C95-A98B-866BCF7DB083}"/>
          </ac:cxnSpMkLst>
        </pc:cxnChg>
        <pc:cxnChg chg="add mod">
          <ac:chgData name="Pierugo Pace" userId="2226acec-25d1-48aa-b467-65eac8578bef" providerId="ADAL" clId="{79ED0C4E-7D31-4904-9824-CD42FD471766}" dt="2024-04-24T09:48:43.744" v="13221" actId="14100"/>
          <ac:cxnSpMkLst>
            <pc:docMk/>
            <pc:sldMk cId="3168781126" sldId="3244"/>
            <ac:cxnSpMk id="10" creationId="{B376848B-2FBB-194F-55F0-EEA67B886F1F}"/>
          </ac:cxnSpMkLst>
        </pc:cxnChg>
      </pc:sldChg>
      <pc:sldMasterChg chg="modSldLayout">
        <pc:chgData name="Pierugo Pace" userId="2226acec-25d1-48aa-b467-65eac8578bef" providerId="ADAL" clId="{79ED0C4E-7D31-4904-9824-CD42FD471766}" dt="2024-04-18T08:50:22.830" v="582" actId="404"/>
        <pc:sldMasterMkLst>
          <pc:docMk/>
          <pc:sldMasterMk cId="778254282" sldId="2147483660"/>
        </pc:sldMasterMkLst>
        <pc:sldLayoutChg chg="modSp">
          <pc:chgData name="Pierugo Pace" userId="2226acec-25d1-48aa-b467-65eac8578bef" providerId="ADAL" clId="{79ED0C4E-7D31-4904-9824-CD42FD471766}" dt="2024-04-18T08:50:22.830" v="582" actId="404"/>
          <pc:sldLayoutMkLst>
            <pc:docMk/>
            <pc:sldMasterMk cId="778254282" sldId="2147483660"/>
            <pc:sldLayoutMk cId="508710685" sldId="2147483663"/>
          </pc:sldLayoutMkLst>
          <pc:spChg chg="mod">
            <ac:chgData name="Pierugo Pace" userId="2226acec-25d1-48aa-b467-65eac8578bef" providerId="ADAL" clId="{79ED0C4E-7D31-4904-9824-CD42FD471766}" dt="2024-04-18T08:50:22.830" v="582" actId="404"/>
            <ac:spMkLst>
              <pc:docMk/>
              <pc:sldMasterMk cId="778254282" sldId="2147483660"/>
              <pc:sldLayoutMk cId="508710685" sldId="2147483663"/>
              <ac:spMk id="7" creationId="{144996A3-3781-6D41-A076-24721486950D}"/>
            </ac:spMkLst>
          </pc:spChg>
        </pc:sldLayoutChg>
      </pc:sldMasterChg>
    </pc:docChg>
  </pc:docChgLst>
  <pc:docChgLst>
    <pc:chgData name="Pierugo Pace" userId="2226acec-25d1-48aa-b467-65eac8578bef" providerId="ADAL" clId="{87E1664D-778A-406D-BA96-0ED9EB2F9839}"/>
    <pc:docChg chg="addSld delSld modSld">
      <pc:chgData name="Pierugo Pace" userId="2226acec-25d1-48aa-b467-65eac8578bef" providerId="ADAL" clId="{87E1664D-778A-406D-BA96-0ED9EB2F9839}" dt="2024-07-03T12:47:31.224" v="5" actId="47"/>
      <pc:docMkLst>
        <pc:docMk/>
      </pc:docMkLst>
      <pc:sldChg chg="del">
        <pc:chgData name="Pierugo Pace" userId="2226acec-25d1-48aa-b467-65eac8578bef" providerId="ADAL" clId="{87E1664D-778A-406D-BA96-0ED9EB2F9839}" dt="2024-07-03T12:47:12.358" v="1" actId="47"/>
        <pc:sldMkLst>
          <pc:docMk/>
          <pc:sldMk cId="761752595" sldId="3147"/>
        </pc:sldMkLst>
      </pc:sldChg>
      <pc:sldChg chg="del">
        <pc:chgData name="Pierugo Pace" userId="2226acec-25d1-48aa-b467-65eac8578bef" providerId="ADAL" clId="{87E1664D-778A-406D-BA96-0ED9EB2F9839}" dt="2024-07-03T12:47:31.224" v="5" actId="47"/>
        <pc:sldMkLst>
          <pc:docMk/>
          <pc:sldMk cId="508269740" sldId="3148"/>
        </pc:sldMkLst>
      </pc:sldChg>
      <pc:sldChg chg="del">
        <pc:chgData name="Pierugo Pace" userId="2226acec-25d1-48aa-b467-65eac8578bef" providerId="ADAL" clId="{87E1664D-778A-406D-BA96-0ED9EB2F9839}" dt="2024-07-03T12:47:18.230" v="3" actId="47"/>
        <pc:sldMkLst>
          <pc:docMk/>
          <pc:sldMk cId="3475273546" sldId="3211"/>
        </pc:sldMkLst>
      </pc:sldChg>
      <pc:sldChg chg="add">
        <pc:chgData name="Pierugo Pace" userId="2226acec-25d1-48aa-b467-65eac8578bef" providerId="ADAL" clId="{87E1664D-778A-406D-BA96-0ED9EB2F9839}" dt="2024-07-03T12:47:10.266" v="0"/>
        <pc:sldMkLst>
          <pc:docMk/>
          <pc:sldMk cId="1935791267" sldId="3245"/>
        </pc:sldMkLst>
      </pc:sldChg>
      <pc:sldChg chg="add">
        <pc:chgData name="Pierugo Pace" userId="2226acec-25d1-48aa-b467-65eac8578bef" providerId="ADAL" clId="{87E1664D-778A-406D-BA96-0ED9EB2F9839}" dt="2024-07-03T12:47:15.586" v="2"/>
        <pc:sldMkLst>
          <pc:docMk/>
          <pc:sldMk cId="3123017858" sldId="3246"/>
        </pc:sldMkLst>
      </pc:sldChg>
      <pc:sldChg chg="add">
        <pc:chgData name="Pierugo Pace" userId="2226acec-25d1-48aa-b467-65eac8578bef" providerId="ADAL" clId="{87E1664D-778A-406D-BA96-0ED9EB2F9839}" dt="2024-07-03T12:47:28.749" v="4"/>
        <pc:sldMkLst>
          <pc:docMk/>
          <pc:sldMk cId="2157469542" sldId="3247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Calibri Light" panose="020F03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Calibri Light" panose="020F0302020204030204" pitchFamily="34" charset="0"/>
              </a:defRPr>
            </a:lvl1pPr>
          </a:lstStyle>
          <a:p>
            <a:fld id="{7AB3EBDE-055A-9E45-A281-4C3380CAF91A}" type="datetimeFigureOut">
              <a:rPr lang="en-US" smtClean="0"/>
              <a:pPr/>
              <a:t>4/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Calibri Light" panose="020F03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Calibri Light" panose="020F0302020204030204" pitchFamily="34" charset="0"/>
              </a:defRPr>
            </a:lvl1pPr>
          </a:lstStyle>
          <a:p>
            <a:fld id="{96DF100D-537D-C94F-BD71-130A67A86D8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2271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Calibri Light" panose="020F030202020403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2A97CE-D0F5-CA45-B1C5-AAB3E33451C0}" type="slidenum">
              <a:rPr kumimoji="0" lang="en-GB" sz="120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ＭＳ Ｐゴシック" charset="0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8823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DF100D-537D-C94F-BD71-130A67A86D8A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15207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DF100D-537D-C94F-BD71-130A67A86D8A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639031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DF100D-537D-C94F-BD71-130A67A86D8A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07318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DF100D-537D-C94F-BD71-130A67A86D8A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89091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DF100D-537D-C94F-BD71-130A67A86D8A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47094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DF100D-537D-C94F-BD71-130A67A86D8A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6171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DF100D-537D-C94F-BD71-130A67A86D8A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821865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DF100D-537D-C94F-BD71-130A67A86D8A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9685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DF100D-537D-C94F-BD71-130A67A86D8A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37706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DF100D-537D-C94F-BD71-130A67A86D8A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6111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DF100D-537D-C94F-BD71-130A67A86D8A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0120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DF100D-537D-C94F-BD71-130A67A86D8A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97011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2847CE20-CAE0-43B0-7ACB-5D807333ABA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="" xmlns:a16="http://schemas.microsoft.com/office/drawing/2014/main" id="{EBA3BE39-2DB4-DF1D-C832-ECFE2218236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="" xmlns:a16="http://schemas.microsoft.com/office/drawing/2014/main" id="{6D988342-F6C2-7469-352D-51EA55D9FA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EB2C61E1-8CA8-1A7F-21A9-F4E8B845CDA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DF100D-537D-C94F-BD71-130A67A86D8A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6559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DF100D-537D-C94F-BD71-130A67A86D8A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6146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DF100D-537D-C94F-BD71-130A67A86D8A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107766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6DF100D-537D-C94F-BD71-130A67A86D8A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7746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tr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Box 7">
            <a:extLst>
              <a:ext uri="{FF2B5EF4-FFF2-40B4-BE49-F238E27FC236}">
                <a16:creationId xmlns="" xmlns:a16="http://schemas.microsoft.com/office/drawing/2014/main" id="{3D02B754-7268-0C4F-BB51-4218F15BA0D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334828" y="6625571"/>
            <a:ext cx="2658011" cy="102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>
              <a:defRPr/>
            </a:pPr>
            <a:r>
              <a:rPr lang="en-GB" sz="667" b="0" i="0" noProof="0">
                <a:solidFill>
                  <a:schemeClr val="bg2">
                    <a:lumMod val="60000"/>
                    <a:lumOff val="40000"/>
                  </a:schemeClr>
                </a:solidFill>
                <a:latin typeface="+mj-lt"/>
                <a:ea typeface="Helvetica Light Oblique" charset="0"/>
                <a:cs typeface="Calibri Light" panose="020F0302020204030204" pitchFamily="34" charset="0"/>
              </a:rPr>
              <a:t>© 2020 KUDELSKI GROUP </a:t>
            </a:r>
            <a:r>
              <a:rPr lang="en-GB" sz="667" b="0" i="0" baseline="0" noProof="0">
                <a:solidFill>
                  <a:schemeClr val="bg2">
                    <a:lumMod val="60000"/>
                    <a:lumOff val="40000"/>
                  </a:schemeClr>
                </a:solidFill>
                <a:latin typeface="+mj-lt"/>
                <a:ea typeface="Helvetica Light Oblique" charset="0"/>
                <a:cs typeface="Calibri Light" panose="020F0302020204030204" pitchFamily="34" charset="0"/>
              </a:rPr>
              <a:t> -</a:t>
            </a:r>
            <a:r>
              <a:rPr lang="en-GB" sz="667" b="0" i="0" noProof="0">
                <a:solidFill>
                  <a:schemeClr val="bg2">
                    <a:lumMod val="60000"/>
                    <a:lumOff val="40000"/>
                  </a:schemeClr>
                </a:solidFill>
                <a:latin typeface="+mj-lt"/>
                <a:ea typeface="Helvetica Light Oblique" charset="0"/>
                <a:cs typeface="Calibri Light" panose="020F0302020204030204" pitchFamily="34" charset="0"/>
              </a:rPr>
              <a:t> All rights reserved</a:t>
            </a:r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AF0B7DC0-2470-1C41-A69F-3279CCADC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1704" y="4741568"/>
            <a:ext cx="4465672" cy="194551"/>
          </a:xfrm>
          <a:prstGeom prst="rect">
            <a:avLst/>
          </a:prstGeom>
        </p:spPr>
        <p:txBody>
          <a:bodyPr/>
          <a:lstStyle>
            <a:lvl1pPr>
              <a:defRPr sz="1600" b="1" i="0" spc="60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DD/MM/YYYY</a:t>
            </a:r>
            <a:endParaRPr lang="en-GB" noProof="0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="" xmlns:a16="http://schemas.microsoft.com/office/drawing/2014/main" id="{B6AC6DAD-D771-EC47-929E-41A3346F9B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928" y="5027559"/>
            <a:ext cx="10508969" cy="602655"/>
          </a:xfrm>
        </p:spPr>
        <p:txBody>
          <a:bodyPr/>
          <a:lstStyle>
            <a:lvl1pPr marL="47999" indent="0">
              <a:buNone/>
              <a:defRPr sz="4267" b="0" i="0">
                <a:solidFill>
                  <a:srgbClr val="494949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</a:t>
            </a:r>
            <a:r>
              <a:rPr lang="fr-FR" err="1"/>
              <a:t>presentation</a:t>
            </a:r>
            <a:r>
              <a:rPr lang="fr-FR"/>
              <a:t> </a:t>
            </a:r>
            <a:r>
              <a:rPr lang="fr-FR" err="1"/>
              <a:t>comes</a:t>
            </a:r>
            <a:r>
              <a:rPr lang="fr-FR"/>
              <a:t> </a:t>
            </a:r>
            <a:r>
              <a:rPr lang="fr-FR" err="1"/>
              <a:t>here</a:t>
            </a:r>
            <a:endParaRPr lang="fr-FR"/>
          </a:p>
        </p:txBody>
      </p:sp>
      <p:sp>
        <p:nvSpPr>
          <p:cNvPr id="18" name="Espace réservé du texte 7">
            <a:extLst>
              <a:ext uri="{FF2B5EF4-FFF2-40B4-BE49-F238E27FC236}">
                <a16:creationId xmlns="" xmlns:a16="http://schemas.microsoft.com/office/drawing/2014/main" id="{8AA216C3-23B3-EE45-BBB5-CCDE8C5F81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9927" y="6172267"/>
            <a:ext cx="10508968" cy="255213"/>
          </a:xfrm>
        </p:spPr>
        <p:txBody>
          <a:bodyPr/>
          <a:lstStyle>
            <a:lvl1pPr marL="47999" indent="0">
              <a:buNone/>
              <a:defRPr sz="1600" b="0" i="0">
                <a:solidFill>
                  <a:schemeClr val="accent3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r>
              <a:rPr lang="fr-FR" err="1"/>
              <a:t>Presenter</a:t>
            </a:r>
            <a:r>
              <a:rPr lang="fr-FR"/>
              <a:t> </a:t>
            </a:r>
            <a:r>
              <a:rPr lang="fr-FR" err="1"/>
              <a:t>name</a:t>
            </a:r>
            <a:r>
              <a:rPr lang="fr-FR"/>
              <a:t> &amp; position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="" xmlns:a16="http://schemas.microsoft.com/office/drawing/2014/main" id="{1D864C73-3BDC-CD45-AE6C-F84DF6A3952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9928" y="5727760"/>
            <a:ext cx="10508969" cy="378539"/>
          </a:xfrm>
        </p:spPr>
        <p:txBody>
          <a:bodyPr/>
          <a:lstStyle>
            <a:lvl1pPr marL="47999" indent="0">
              <a:buNone/>
              <a:defRPr sz="2400" b="0" i="0">
                <a:solidFill>
                  <a:srgbClr val="494949"/>
                </a:solidFill>
                <a:latin typeface="+mn-lt"/>
                <a:cs typeface="Calibri Light" panose="020F0302020204030204" pitchFamily="34" charset="0"/>
              </a:defRPr>
            </a:lvl1pPr>
          </a:lstStyle>
          <a:p>
            <a:r>
              <a:rPr lang="fr-FR" err="1"/>
              <a:t>Secondary</a:t>
            </a:r>
            <a:r>
              <a:rPr lang="fr-FR"/>
              <a:t> </a:t>
            </a:r>
            <a:r>
              <a:rPr lang="fr-FR" err="1"/>
              <a:t>Title</a:t>
            </a:r>
            <a:r>
              <a:rPr lang="fr-FR"/>
              <a:t> of </a:t>
            </a:r>
            <a:r>
              <a:rPr lang="fr-FR" err="1"/>
              <a:t>presentation</a:t>
            </a:r>
            <a:endParaRPr lang="fr-FR"/>
          </a:p>
        </p:txBody>
      </p:sp>
      <p:pic>
        <p:nvPicPr>
          <p:cNvPr id="3" name="Graphic 2">
            <a:extLst>
              <a:ext uri="{FF2B5EF4-FFF2-40B4-BE49-F238E27FC236}">
                <a16:creationId xmlns="" xmlns:a16="http://schemas.microsoft.com/office/drawing/2014/main" id="{F3B3EDF5-08C6-C64F-A5EF-7C2E37A4C3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9926" y="430520"/>
            <a:ext cx="3291351" cy="1399921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="" xmlns:a16="http://schemas.microsoft.com/office/drawing/2014/main" id="{C92EC6E8-C7C8-65FF-7715-88F4616D00A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304626" y="0"/>
            <a:ext cx="4887374" cy="4887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9138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g Sta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9">
            <a:extLst>
              <a:ext uri="{FF2B5EF4-FFF2-40B4-BE49-F238E27FC236}">
                <a16:creationId xmlns="" xmlns:a16="http://schemas.microsoft.com/office/drawing/2014/main" id="{97EFB8D4-A7C8-A447-848A-79E9BD3362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4185430"/>
            <a:ext cx="2686191" cy="302752"/>
          </a:xfrm>
          <a:prstGeom prst="rect">
            <a:avLst/>
          </a:prstGeom>
        </p:spPr>
        <p:txBody>
          <a:bodyPr/>
          <a:lstStyle>
            <a:lvl1pPr marL="47999" indent="0" algn="l"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caption</a:t>
            </a:r>
          </a:p>
        </p:txBody>
      </p:sp>
      <p:sp>
        <p:nvSpPr>
          <p:cNvPr id="15" name="Espace réservé du texte 9">
            <a:extLst>
              <a:ext uri="{FF2B5EF4-FFF2-40B4-BE49-F238E27FC236}">
                <a16:creationId xmlns="" xmlns:a16="http://schemas.microsoft.com/office/drawing/2014/main" id="{1FC15F30-1A93-8048-A59A-2F8A24DBE3B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200" y="3331923"/>
            <a:ext cx="2686191" cy="780401"/>
          </a:xfrm>
          <a:prstGeom prst="rect">
            <a:avLst/>
          </a:prstGeom>
        </p:spPr>
        <p:txBody>
          <a:bodyPr/>
          <a:lstStyle>
            <a:lvl1pPr marL="47999" indent="0" algn="l">
              <a:buNone/>
              <a:defRPr sz="6000" b="0" i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 noProof="0"/>
              <a:t>data</a:t>
            </a:r>
          </a:p>
        </p:txBody>
      </p:sp>
      <p:sp>
        <p:nvSpPr>
          <p:cNvPr id="18" name="Espace réservé du texte 9">
            <a:extLst>
              <a:ext uri="{FF2B5EF4-FFF2-40B4-BE49-F238E27FC236}">
                <a16:creationId xmlns="" xmlns:a16="http://schemas.microsoft.com/office/drawing/2014/main" id="{76C4B5EF-B878-CA4A-9132-75B3AA1A1E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94577" y="4185430"/>
            <a:ext cx="2790811" cy="302752"/>
          </a:xfrm>
          <a:prstGeom prst="rect">
            <a:avLst/>
          </a:prstGeom>
        </p:spPr>
        <p:txBody>
          <a:bodyPr/>
          <a:lstStyle>
            <a:lvl1pPr marL="47999" indent="0" algn="l"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caption</a:t>
            </a:r>
          </a:p>
        </p:txBody>
      </p:sp>
      <p:sp>
        <p:nvSpPr>
          <p:cNvPr id="19" name="Espace réservé du texte 9">
            <a:extLst>
              <a:ext uri="{FF2B5EF4-FFF2-40B4-BE49-F238E27FC236}">
                <a16:creationId xmlns="" xmlns:a16="http://schemas.microsoft.com/office/drawing/2014/main" id="{D38AAB44-612F-FC49-968F-4E587CDD258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94577" y="3331923"/>
            <a:ext cx="2790811" cy="780401"/>
          </a:xfrm>
          <a:prstGeom prst="rect">
            <a:avLst/>
          </a:prstGeom>
        </p:spPr>
        <p:txBody>
          <a:bodyPr/>
          <a:lstStyle>
            <a:lvl1pPr marL="47999" indent="0" algn="l">
              <a:buNone/>
              <a:defRPr sz="6000" b="0" i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 noProof="0"/>
              <a:t>data</a:t>
            </a:r>
          </a:p>
        </p:txBody>
      </p:sp>
      <p:sp>
        <p:nvSpPr>
          <p:cNvPr id="21" name="Espace réservé du texte 9">
            <a:extLst>
              <a:ext uri="{FF2B5EF4-FFF2-40B4-BE49-F238E27FC236}">
                <a16:creationId xmlns="" xmlns:a16="http://schemas.microsoft.com/office/drawing/2014/main" id="{CD4BBFD8-B963-424D-BFA9-5BB2F4DEDA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55575" y="4185430"/>
            <a:ext cx="2898011" cy="302752"/>
          </a:xfrm>
          <a:prstGeom prst="rect">
            <a:avLst/>
          </a:prstGeom>
        </p:spPr>
        <p:txBody>
          <a:bodyPr/>
          <a:lstStyle>
            <a:lvl1pPr marL="47999" indent="0" algn="l">
              <a:buNone/>
              <a:defRPr sz="16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caption</a:t>
            </a:r>
          </a:p>
        </p:txBody>
      </p:sp>
      <p:sp>
        <p:nvSpPr>
          <p:cNvPr id="22" name="Espace réservé du texte 9">
            <a:extLst>
              <a:ext uri="{FF2B5EF4-FFF2-40B4-BE49-F238E27FC236}">
                <a16:creationId xmlns="" xmlns:a16="http://schemas.microsoft.com/office/drawing/2014/main" id="{A2D54BD2-63E8-8C4D-82E0-B175AF1CE2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455575" y="3331923"/>
            <a:ext cx="2898011" cy="780401"/>
          </a:xfrm>
          <a:prstGeom prst="rect">
            <a:avLst/>
          </a:prstGeom>
        </p:spPr>
        <p:txBody>
          <a:bodyPr/>
          <a:lstStyle>
            <a:lvl1pPr marL="47999" indent="0" algn="l">
              <a:buNone/>
              <a:defRPr sz="6000" b="0" i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 noProof="0"/>
              <a:t>data</a:t>
            </a:r>
          </a:p>
        </p:txBody>
      </p:sp>
      <p:sp>
        <p:nvSpPr>
          <p:cNvPr id="20" name="Titre 1">
            <a:extLst>
              <a:ext uri="{FF2B5EF4-FFF2-40B4-BE49-F238E27FC236}">
                <a16:creationId xmlns="" xmlns:a16="http://schemas.microsoft.com/office/drawing/2014/main" id="{7AD9D5FE-2051-BB4F-BEDD-F3028D4A13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1766546"/>
            <a:ext cx="10515386" cy="656591"/>
          </a:xfrm>
        </p:spPr>
        <p:txBody>
          <a:bodyPr anchor="b"/>
          <a:lstStyle>
            <a:lvl1pPr algn="l">
              <a:defRPr sz="4267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3 Key Stats Slide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="" xmlns:a16="http://schemas.microsoft.com/office/drawing/2014/main" id="{E97E1206-EDE4-E548-8578-96E31F84BDF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201" y="1438690"/>
            <a:ext cx="10515386" cy="235169"/>
          </a:xfrm>
        </p:spPr>
        <p:txBody>
          <a:bodyPr/>
          <a:lstStyle>
            <a:lvl1pPr marL="0" indent="0">
              <a:buNone/>
              <a:defRPr sz="1600" b="1" i="0" spc="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9495862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Basic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9">
            <a:extLst>
              <a:ext uri="{FF2B5EF4-FFF2-40B4-BE49-F238E27FC236}">
                <a16:creationId xmlns="" xmlns:a16="http://schemas.microsoft.com/office/drawing/2014/main" id="{FD451EC3-ED1B-C54E-9D9B-A110543B94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7571" y="3362602"/>
            <a:ext cx="3200075" cy="499888"/>
          </a:xfrm>
          <a:prstGeom prst="rect">
            <a:avLst/>
          </a:prstGeom>
        </p:spPr>
        <p:txBody>
          <a:bodyPr anchor="ctr"/>
          <a:lstStyle>
            <a:lvl1pPr marL="47997" indent="0" algn="l">
              <a:buNone/>
              <a:defRPr sz="2400" b="0" i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 noProof="0"/>
              <a:t>Card title</a:t>
            </a:r>
          </a:p>
        </p:txBody>
      </p:sp>
      <p:sp>
        <p:nvSpPr>
          <p:cNvPr id="15" name="Espace réservé du texte 9">
            <a:extLst>
              <a:ext uri="{FF2B5EF4-FFF2-40B4-BE49-F238E27FC236}">
                <a16:creationId xmlns="" xmlns:a16="http://schemas.microsoft.com/office/drawing/2014/main" id="{5E150E27-9D6A-334A-ACBF-34C4D28E64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7571" y="3975047"/>
            <a:ext cx="3200075" cy="1254291"/>
          </a:xfrm>
          <a:prstGeom prst="rect">
            <a:avLst/>
          </a:prstGeom>
        </p:spPr>
        <p:txBody>
          <a:bodyPr>
            <a:normAutofit/>
          </a:bodyPr>
          <a:lstStyle>
            <a:lvl1pPr marL="47997" indent="0" algn="l"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Description</a:t>
            </a:r>
          </a:p>
        </p:txBody>
      </p:sp>
      <p:sp>
        <p:nvSpPr>
          <p:cNvPr id="30" name="Titre 1">
            <a:extLst>
              <a:ext uri="{FF2B5EF4-FFF2-40B4-BE49-F238E27FC236}">
                <a16:creationId xmlns="" xmlns:a16="http://schemas.microsoft.com/office/drawing/2014/main" id="{EE17E938-3BDD-284B-A7A7-315D7708D8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787733"/>
            <a:ext cx="10515600" cy="821711"/>
          </a:xfrm>
        </p:spPr>
        <p:txBody>
          <a:bodyPr anchor="t"/>
          <a:lstStyle>
            <a:lvl1pPr algn="l">
              <a:defRPr sz="4267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3 Basic Columns</a:t>
            </a:r>
          </a:p>
        </p:txBody>
      </p:sp>
      <p:sp>
        <p:nvSpPr>
          <p:cNvPr id="47" name="Espace réservé du texte 9">
            <a:extLst>
              <a:ext uri="{FF2B5EF4-FFF2-40B4-BE49-F238E27FC236}">
                <a16:creationId xmlns="" xmlns:a16="http://schemas.microsoft.com/office/drawing/2014/main" id="{32A19EED-9D9B-4C4F-966A-50F14A25642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91261" y="3362602"/>
            <a:ext cx="3200075" cy="499888"/>
          </a:xfrm>
          <a:prstGeom prst="rect">
            <a:avLst/>
          </a:prstGeom>
        </p:spPr>
        <p:txBody>
          <a:bodyPr anchor="ctr"/>
          <a:lstStyle>
            <a:lvl1pPr marL="47997" indent="0" algn="l">
              <a:buNone/>
              <a:defRPr sz="2400" b="0" i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 noProof="0"/>
              <a:t>Card title</a:t>
            </a:r>
          </a:p>
        </p:txBody>
      </p:sp>
      <p:sp>
        <p:nvSpPr>
          <p:cNvPr id="48" name="Espace réservé du texte 9">
            <a:extLst>
              <a:ext uri="{FF2B5EF4-FFF2-40B4-BE49-F238E27FC236}">
                <a16:creationId xmlns="" xmlns:a16="http://schemas.microsoft.com/office/drawing/2014/main" id="{7731C2B9-BD17-E643-86A0-B244F7ED168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91261" y="3975047"/>
            <a:ext cx="3200075" cy="1254291"/>
          </a:xfrm>
          <a:prstGeom prst="rect">
            <a:avLst/>
          </a:prstGeom>
        </p:spPr>
        <p:txBody>
          <a:bodyPr>
            <a:normAutofit/>
          </a:bodyPr>
          <a:lstStyle>
            <a:lvl1pPr marL="47997" indent="0" algn="l"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Description</a:t>
            </a:r>
          </a:p>
        </p:txBody>
      </p:sp>
      <p:sp>
        <p:nvSpPr>
          <p:cNvPr id="52" name="Espace réservé du texte 9">
            <a:extLst>
              <a:ext uri="{FF2B5EF4-FFF2-40B4-BE49-F238E27FC236}">
                <a16:creationId xmlns="" xmlns:a16="http://schemas.microsoft.com/office/drawing/2014/main" id="{B51ACF91-501F-CC46-960E-C79FE555542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44951" y="3362602"/>
            <a:ext cx="3200076" cy="499888"/>
          </a:xfrm>
          <a:prstGeom prst="rect">
            <a:avLst/>
          </a:prstGeom>
        </p:spPr>
        <p:txBody>
          <a:bodyPr anchor="ctr"/>
          <a:lstStyle>
            <a:lvl1pPr marL="47997" indent="0" algn="l">
              <a:buNone/>
              <a:defRPr sz="2400" b="0" i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 noProof="0"/>
              <a:t>Card title</a:t>
            </a:r>
          </a:p>
        </p:txBody>
      </p:sp>
      <p:sp>
        <p:nvSpPr>
          <p:cNvPr id="53" name="Espace réservé du texte 9">
            <a:extLst>
              <a:ext uri="{FF2B5EF4-FFF2-40B4-BE49-F238E27FC236}">
                <a16:creationId xmlns="" xmlns:a16="http://schemas.microsoft.com/office/drawing/2014/main" id="{94465382-9252-E841-A8DD-AFDA7492464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44951" y="3975047"/>
            <a:ext cx="3200076" cy="1254291"/>
          </a:xfrm>
          <a:prstGeom prst="rect">
            <a:avLst/>
          </a:prstGeom>
        </p:spPr>
        <p:txBody>
          <a:bodyPr>
            <a:normAutofit/>
          </a:bodyPr>
          <a:lstStyle>
            <a:lvl1pPr marL="47997" indent="0" algn="l"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Description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="" xmlns:a16="http://schemas.microsoft.com/office/drawing/2014/main" id="{DFCA909D-E5ED-EB40-B791-28590759420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7571" y="1446264"/>
            <a:ext cx="10515600" cy="235169"/>
          </a:xfrm>
        </p:spPr>
        <p:txBody>
          <a:bodyPr/>
          <a:lstStyle>
            <a:lvl1pPr marL="0" indent="0">
              <a:buNone/>
              <a:defRPr sz="1600" b="1" i="0" spc="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5404174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asic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60">
            <a:extLst>
              <a:ext uri="{FF2B5EF4-FFF2-40B4-BE49-F238E27FC236}">
                <a16:creationId xmlns="" xmlns:a16="http://schemas.microsoft.com/office/drawing/2014/main" id="{FB459E5A-84CE-C24C-A37F-B5850E8947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5067" y="922136"/>
            <a:ext cx="10507976" cy="656591"/>
          </a:xfrm>
        </p:spPr>
        <p:txBody>
          <a:bodyPr/>
          <a:lstStyle>
            <a:lvl1pPr algn="l">
              <a:defRPr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4 Basic Columns</a:t>
            </a:r>
          </a:p>
        </p:txBody>
      </p:sp>
      <p:sp>
        <p:nvSpPr>
          <p:cNvPr id="36" name="Espace réservé du contenu 35">
            <a:extLst>
              <a:ext uri="{FF2B5EF4-FFF2-40B4-BE49-F238E27FC236}">
                <a16:creationId xmlns="" xmlns:a16="http://schemas.microsoft.com/office/drawing/2014/main" id="{B4036B15-F5F1-C84E-9F9D-8C777DA8BD0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44449" y="1703159"/>
            <a:ext cx="10509352" cy="581361"/>
          </a:xfrm>
        </p:spPr>
        <p:txBody>
          <a:bodyPr/>
          <a:lstStyle>
            <a:lvl1pPr marL="0" indent="0" algn="l">
              <a:buNone/>
              <a:defRPr sz="20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ntro text</a:t>
            </a:r>
          </a:p>
        </p:txBody>
      </p:sp>
      <p:sp>
        <p:nvSpPr>
          <p:cNvPr id="42" name="Espace réservé du contenu 41">
            <a:extLst>
              <a:ext uri="{FF2B5EF4-FFF2-40B4-BE49-F238E27FC236}">
                <a16:creationId xmlns="" xmlns:a16="http://schemas.microsoft.com/office/drawing/2014/main" id="{5E0F829C-F7D1-7649-B5D4-377B7CD74F9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45067" y="2834701"/>
            <a:ext cx="2386835" cy="694267"/>
          </a:xfrm>
        </p:spPr>
        <p:txBody>
          <a:bodyPr anchor="b"/>
          <a:lstStyle>
            <a:lvl1pPr marL="0" indent="0">
              <a:buNone/>
              <a:defRPr sz="2667" b="0" i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 noProof="0" dirty="0"/>
              <a:t>Card title</a:t>
            </a:r>
          </a:p>
        </p:txBody>
      </p:sp>
      <p:sp>
        <p:nvSpPr>
          <p:cNvPr id="43" name="Espace réservé du contenu 41">
            <a:extLst>
              <a:ext uri="{FF2B5EF4-FFF2-40B4-BE49-F238E27FC236}">
                <a16:creationId xmlns="" xmlns:a16="http://schemas.microsoft.com/office/drawing/2014/main" id="{E8A5D8DD-2006-CC4E-BA87-A077A1346087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45067" y="3636843"/>
            <a:ext cx="2386835" cy="2161792"/>
          </a:xfrm>
        </p:spPr>
        <p:txBody>
          <a:bodyPr anchor="t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Card content</a:t>
            </a:r>
          </a:p>
        </p:txBody>
      </p:sp>
      <p:sp>
        <p:nvSpPr>
          <p:cNvPr id="49" name="Espace réservé du contenu 41">
            <a:extLst>
              <a:ext uri="{FF2B5EF4-FFF2-40B4-BE49-F238E27FC236}">
                <a16:creationId xmlns="" xmlns:a16="http://schemas.microsoft.com/office/drawing/2014/main" id="{80B01D33-DD78-8C4F-8D3A-107D14022F00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545501" y="2834701"/>
            <a:ext cx="2386835" cy="694267"/>
          </a:xfrm>
        </p:spPr>
        <p:txBody>
          <a:bodyPr anchor="b"/>
          <a:lstStyle>
            <a:lvl1pPr marL="0" indent="0">
              <a:buNone/>
              <a:defRPr sz="2667" b="0" i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 noProof="0"/>
              <a:t>Card title</a:t>
            </a:r>
          </a:p>
        </p:txBody>
      </p:sp>
      <p:sp>
        <p:nvSpPr>
          <p:cNvPr id="50" name="Espace réservé du contenu 41">
            <a:extLst>
              <a:ext uri="{FF2B5EF4-FFF2-40B4-BE49-F238E27FC236}">
                <a16:creationId xmlns="" xmlns:a16="http://schemas.microsoft.com/office/drawing/2014/main" id="{5F7FAA26-A54F-DF4F-B66C-11DCC18227D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552366" y="3636843"/>
            <a:ext cx="2386835" cy="2161792"/>
          </a:xfrm>
        </p:spPr>
        <p:txBody>
          <a:bodyPr anchor="t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Card content</a:t>
            </a:r>
          </a:p>
        </p:txBody>
      </p:sp>
      <p:sp>
        <p:nvSpPr>
          <p:cNvPr id="56" name="Espace réservé du contenu 41">
            <a:extLst>
              <a:ext uri="{FF2B5EF4-FFF2-40B4-BE49-F238E27FC236}">
                <a16:creationId xmlns="" xmlns:a16="http://schemas.microsoft.com/office/drawing/2014/main" id="{908F264C-39EB-544D-B002-E752971EED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259665" y="2834701"/>
            <a:ext cx="2386835" cy="694267"/>
          </a:xfrm>
        </p:spPr>
        <p:txBody>
          <a:bodyPr anchor="b"/>
          <a:lstStyle>
            <a:lvl1pPr marL="0" indent="0">
              <a:buNone/>
              <a:defRPr sz="2667" b="0" i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 noProof="0"/>
              <a:t>Card title</a:t>
            </a:r>
          </a:p>
        </p:txBody>
      </p:sp>
      <p:sp>
        <p:nvSpPr>
          <p:cNvPr id="57" name="Espace réservé du contenu 41">
            <a:extLst>
              <a:ext uri="{FF2B5EF4-FFF2-40B4-BE49-F238E27FC236}">
                <a16:creationId xmlns="" xmlns:a16="http://schemas.microsoft.com/office/drawing/2014/main" id="{B28F3DD3-59C1-2540-B8BE-9567B647C371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59665" y="3636843"/>
            <a:ext cx="2386835" cy="2161792"/>
          </a:xfrm>
        </p:spPr>
        <p:txBody>
          <a:bodyPr anchor="t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Card content</a:t>
            </a:r>
          </a:p>
        </p:txBody>
      </p:sp>
      <p:sp>
        <p:nvSpPr>
          <p:cNvPr id="63" name="Espace réservé du contenu 41">
            <a:extLst>
              <a:ext uri="{FF2B5EF4-FFF2-40B4-BE49-F238E27FC236}">
                <a16:creationId xmlns="" xmlns:a16="http://schemas.microsoft.com/office/drawing/2014/main" id="{8B0C4113-32B8-5641-87D7-2F85546E1DB1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8966964" y="2834701"/>
            <a:ext cx="2386835" cy="694267"/>
          </a:xfrm>
        </p:spPr>
        <p:txBody>
          <a:bodyPr anchor="b"/>
          <a:lstStyle>
            <a:lvl1pPr marL="0" indent="0">
              <a:buNone/>
              <a:defRPr sz="2667" b="0" i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 noProof="0"/>
              <a:t>Card title</a:t>
            </a:r>
          </a:p>
        </p:txBody>
      </p:sp>
      <p:sp>
        <p:nvSpPr>
          <p:cNvPr id="64" name="Espace réservé du contenu 41">
            <a:extLst>
              <a:ext uri="{FF2B5EF4-FFF2-40B4-BE49-F238E27FC236}">
                <a16:creationId xmlns="" xmlns:a16="http://schemas.microsoft.com/office/drawing/2014/main" id="{AA678707-E5BF-6B4B-8DD1-B1C294D112B0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8966964" y="3636843"/>
            <a:ext cx="2386835" cy="2161792"/>
          </a:xfrm>
        </p:spPr>
        <p:txBody>
          <a:bodyPr anchor="t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Card content</a:t>
            </a:r>
          </a:p>
        </p:txBody>
      </p:sp>
      <p:sp>
        <p:nvSpPr>
          <p:cNvPr id="29" name="Espace réservé du texte 5">
            <a:extLst>
              <a:ext uri="{FF2B5EF4-FFF2-40B4-BE49-F238E27FC236}">
                <a16:creationId xmlns="" xmlns:a16="http://schemas.microsoft.com/office/drawing/2014/main" id="{93170D72-C747-9340-9791-2D3BFD786A0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8957" y="643794"/>
            <a:ext cx="10507976" cy="202790"/>
          </a:xfrm>
          <a:prstGeom prst="rect">
            <a:avLst/>
          </a:prstGeom>
        </p:spPr>
        <p:txBody>
          <a:bodyPr/>
          <a:lstStyle>
            <a:lvl1pPr marL="47997" indent="0" algn="l">
              <a:buNone/>
              <a:defRPr sz="1600" b="1" i="0" spc="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256371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9">
            <a:extLst>
              <a:ext uri="{FF2B5EF4-FFF2-40B4-BE49-F238E27FC236}">
                <a16:creationId xmlns="" xmlns:a16="http://schemas.microsoft.com/office/drawing/2014/main" id="{E2DE6C3E-002A-0A46-A0C3-939D671EAE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197" y="2318709"/>
            <a:ext cx="4924950" cy="719949"/>
          </a:xfrm>
          <a:prstGeom prst="rect">
            <a:avLst/>
          </a:prstGeom>
        </p:spPr>
        <p:txBody>
          <a:bodyPr/>
          <a:lstStyle>
            <a:lvl1pPr marL="47997" marR="0" indent="0" algn="l" defTabSz="12191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072"/>
              </a:buClr>
              <a:buSzPct val="70000"/>
              <a:buFontTx/>
              <a:buNone/>
              <a:tabLst/>
              <a:defRPr sz="20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47997" marR="0" lvl="0" indent="0" algn="l" defTabSz="12191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072"/>
              </a:buClr>
              <a:buSzPct val="70000"/>
              <a:buFontTx/>
              <a:buNone/>
              <a:tabLst/>
              <a:defRPr/>
            </a:pPr>
            <a:r>
              <a:rPr lang="en-US" noProof="0"/>
              <a:t>Feature description</a:t>
            </a:r>
          </a:p>
        </p:txBody>
      </p:sp>
      <p:sp>
        <p:nvSpPr>
          <p:cNvPr id="4" name="Espace réservé du texte 9">
            <a:extLst>
              <a:ext uri="{FF2B5EF4-FFF2-40B4-BE49-F238E27FC236}">
                <a16:creationId xmlns="" xmlns:a16="http://schemas.microsoft.com/office/drawing/2014/main" id="{FBF7AC01-4653-524F-B6C3-D7A93D4FCD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1887750"/>
            <a:ext cx="4924952" cy="361631"/>
          </a:xfrm>
          <a:prstGeom prst="rect">
            <a:avLst/>
          </a:prstGeom>
        </p:spPr>
        <p:txBody>
          <a:bodyPr/>
          <a:lstStyle>
            <a:lvl1pPr marL="47997" indent="0" algn="l">
              <a:buNone/>
              <a:defRPr sz="2400" b="0" i="0">
                <a:solidFill>
                  <a:schemeClr val="accent3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noProof="0" dirty="0"/>
              <a:t>Benefit</a:t>
            </a:r>
          </a:p>
        </p:txBody>
      </p:sp>
      <p:sp>
        <p:nvSpPr>
          <p:cNvPr id="5" name="Espace réservé du texte 9">
            <a:extLst>
              <a:ext uri="{FF2B5EF4-FFF2-40B4-BE49-F238E27FC236}">
                <a16:creationId xmlns="" xmlns:a16="http://schemas.microsoft.com/office/drawing/2014/main" id="{E262AE0E-9575-EA40-834E-34256E62CD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8200" y="3896530"/>
            <a:ext cx="4924950" cy="719949"/>
          </a:xfrm>
          <a:prstGeom prst="rect">
            <a:avLst/>
          </a:prstGeom>
        </p:spPr>
        <p:txBody>
          <a:bodyPr/>
          <a:lstStyle>
            <a:lvl1pPr marL="47997" marR="0" indent="0" algn="l" defTabSz="12191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072"/>
              </a:buClr>
              <a:buSzPct val="70000"/>
              <a:buFontTx/>
              <a:buNone/>
              <a:tabLst/>
              <a:defRPr sz="20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47997" marR="0" lvl="0" indent="0" algn="l" defTabSz="12191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072"/>
              </a:buClr>
              <a:buSzPct val="70000"/>
              <a:buFontTx/>
              <a:buNone/>
              <a:tabLst/>
              <a:defRPr/>
            </a:pPr>
            <a:r>
              <a:rPr lang="en-US" noProof="0"/>
              <a:t>Feature description</a:t>
            </a:r>
          </a:p>
        </p:txBody>
      </p:sp>
      <p:sp>
        <p:nvSpPr>
          <p:cNvPr id="6" name="Espace réservé du texte 9">
            <a:extLst>
              <a:ext uri="{FF2B5EF4-FFF2-40B4-BE49-F238E27FC236}">
                <a16:creationId xmlns="" xmlns:a16="http://schemas.microsoft.com/office/drawing/2014/main" id="{836BC637-D4BA-B64E-B2E6-91D57DE714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8201" y="3465571"/>
            <a:ext cx="4924952" cy="361631"/>
          </a:xfrm>
          <a:prstGeom prst="rect">
            <a:avLst/>
          </a:prstGeom>
        </p:spPr>
        <p:txBody>
          <a:bodyPr/>
          <a:lstStyle>
            <a:lvl1pPr marL="47997" indent="0" algn="l">
              <a:buNone/>
              <a:defRPr sz="2400" b="0" i="0">
                <a:solidFill>
                  <a:schemeClr val="accent3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noProof="0"/>
              <a:t>Benefit</a:t>
            </a:r>
          </a:p>
        </p:txBody>
      </p:sp>
      <p:sp>
        <p:nvSpPr>
          <p:cNvPr id="7" name="Espace réservé du texte 9">
            <a:extLst>
              <a:ext uri="{FF2B5EF4-FFF2-40B4-BE49-F238E27FC236}">
                <a16:creationId xmlns="" xmlns:a16="http://schemas.microsoft.com/office/drawing/2014/main" id="{988DFB77-A060-814A-9312-B4609AA4DBE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5466783"/>
            <a:ext cx="4924950" cy="719949"/>
          </a:xfrm>
          <a:prstGeom prst="rect">
            <a:avLst/>
          </a:prstGeom>
        </p:spPr>
        <p:txBody>
          <a:bodyPr/>
          <a:lstStyle>
            <a:lvl1pPr marL="47997" marR="0" indent="0" algn="l" defTabSz="12191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072"/>
              </a:buClr>
              <a:buSzPct val="70000"/>
              <a:buFontTx/>
              <a:buNone/>
              <a:tabLst/>
              <a:defRPr sz="20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47997" marR="0" lvl="0" indent="0" algn="l" defTabSz="12191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072"/>
              </a:buClr>
              <a:buSzPct val="70000"/>
              <a:buFontTx/>
              <a:buNone/>
              <a:tabLst/>
              <a:defRPr/>
            </a:pPr>
            <a:r>
              <a:rPr lang="en-US" noProof="0"/>
              <a:t>Feature description</a:t>
            </a:r>
          </a:p>
        </p:txBody>
      </p:sp>
      <p:sp>
        <p:nvSpPr>
          <p:cNvPr id="8" name="Espace réservé du texte 9">
            <a:extLst>
              <a:ext uri="{FF2B5EF4-FFF2-40B4-BE49-F238E27FC236}">
                <a16:creationId xmlns="" xmlns:a16="http://schemas.microsoft.com/office/drawing/2014/main" id="{AD8DAE9A-7079-734F-B36E-3425B14B52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8201" y="5035825"/>
            <a:ext cx="4924952" cy="361631"/>
          </a:xfrm>
          <a:prstGeom prst="rect">
            <a:avLst/>
          </a:prstGeom>
        </p:spPr>
        <p:txBody>
          <a:bodyPr/>
          <a:lstStyle>
            <a:lvl1pPr marL="47997" indent="0" algn="l">
              <a:buNone/>
              <a:defRPr sz="2400" b="0" i="0">
                <a:solidFill>
                  <a:schemeClr val="accent3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noProof="0"/>
              <a:t>Benefit</a:t>
            </a:r>
          </a:p>
        </p:txBody>
      </p:sp>
      <p:sp>
        <p:nvSpPr>
          <p:cNvPr id="9" name="Titre 1">
            <a:extLst>
              <a:ext uri="{FF2B5EF4-FFF2-40B4-BE49-F238E27FC236}">
                <a16:creationId xmlns="" xmlns:a16="http://schemas.microsoft.com/office/drawing/2014/main" id="{32433217-2843-FA43-AE25-EC40D746AA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915818"/>
            <a:ext cx="10515598" cy="615388"/>
          </a:xfrm>
        </p:spPr>
        <p:txBody>
          <a:bodyPr anchor="b"/>
          <a:lstStyle>
            <a:lvl1pPr algn="l">
              <a:defRPr sz="4267" b="0" i="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noProof="0"/>
              <a:t>6 Benefits/Features Slide Title</a:t>
            </a:r>
          </a:p>
        </p:txBody>
      </p:sp>
      <p:sp>
        <p:nvSpPr>
          <p:cNvPr id="10" name="Espace réservé du texte 5">
            <a:extLst>
              <a:ext uri="{FF2B5EF4-FFF2-40B4-BE49-F238E27FC236}">
                <a16:creationId xmlns="" xmlns:a16="http://schemas.microsoft.com/office/drawing/2014/main" id="{D75AD116-31B1-B442-907F-9F1888238C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1" y="643797"/>
            <a:ext cx="10515598" cy="226801"/>
          </a:xfrm>
          <a:prstGeom prst="rect">
            <a:avLst/>
          </a:prstGeom>
        </p:spPr>
        <p:txBody>
          <a:bodyPr>
            <a:noAutofit/>
          </a:bodyPr>
          <a:lstStyle>
            <a:lvl1pPr marL="47997" indent="0" algn="l">
              <a:buNone/>
              <a:defRPr sz="1600" b="1" i="0" spc="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="" xmlns:a16="http://schemas.microsoft.com/office/drawing/2014/main" id="{E21CB6B7-FCE1-F543-AC7B-B8E4606D7D9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93575" y="2318709"/>
            <a:ext cx="4960220" cy="719949"/>
          </a:xfrm>
          <a:prstGeom prst="rect">
            <a:avLst/>
          </a:prstGeom>
        </p:spPr>
        <p:txBody>
          <a:bodyPr/>
          <a:lstStyle>
            <a:lvl1pPr marL="47997" marR="0" indent="0" algn="l" defTabSz="12191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072"/>
              </a:buClr>
              <a:buSzPct val="70000"/>
              <a:buFontTx/>
              <a:buNone/>
              <a:tabLst/>
              <a:defRPr sz="20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47997" marR="0" lvl="0" indent="0" algn="l" defTabSz="12191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072"/>
              </a:buClr>
              <a:buSzPct val="70000"/>
              <a:buFontTx/>
              <a:buNone/>
              <a:tabLst/>
              <a:defRPr/>
            </a:pPr>
            <a:r>
              <a:rPr lang="en-US" noProof="0"/>
              <a:t>Feature description</a:t>
            </a:r>
          </a:p>
        </p:txBody>
      </p:sp>
      <p:sp>
        <p:nvSpPr>
          <p:cNvPr id="12" name="Espace réservé du texte 9">
            <a:extLst>
              <a:ext uri="{FF2B5EF4-FFF2-40B4-BE49-F238E27FC236}">
                <a16:creationId xmlns="" xmlns:a16="http://schemas.microsoft.com/office/drawing/2014/main" id="{0AB4D358-9DB2-F140-A001-BCD2B19020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93575" y="1887750"/>
            <a:ext cx="4960222" cy="361631"/>
          </a:xfrm>
          <a:prstGeom prst="rect">
            <a:avLst/>
          </a:prstGeom>
        </p:spPr>
        <p:txBody>
          <a:bodyPr/>
          <a:lstStyle>
            <a:lvl1pPr marL="47997" indent="0" algn="l">
              <a:buNone/>
              <a:defRPr sz="2400" b="0" i="0">
                <a:solidFill>
                  <a:schemeClr val="accent3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noProof="0"/>
              <a:t>Benefit</a:t>
            </a:r>
          </a:p>
        </p:txBody>
      </p:sp>
      <p:sp>
        <p:nvSpPr>
          <p:cNvPr id="13" name="Espace réservé du texte 9">
            <a:extLst>
              <a:ext uri="{FF2B5EF4-FFF2-40B4-BE49-F238E27FC236}">
                <a16:creationId xmlns="" xmlns:a16="http://schemas.microsoft.com/office/drawing/2014/main" id="{CBA5E66E-054C-CE47-9002-4D69C77935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93576" y="3896530"/>
            <a:ext cx="4960220" cy="719949"/>
          </a:xfrm>
          <a:prstGeom prst="rect">
            <a:avLst/>
          </a:prstGeom>
        </p:spPr>
        <p:txBody>
          <a:bodyPr/>
          <a:lstStyle>
            <a:lvl1pPr marL="47997" marR="0" indent="0" algn="l" defTabSz="12191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072"/>
              </a:buClr>
              <a:buSzPct val="70000"/>
              <a:buFontTx/>
              <a:buNone/>
              <a:tabLst/>
              <a:defRPr sz="20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47997" marR="0" lvl="0" indent="0" algn="l" defTabSz="12191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072"/>
              </a:buClr>
              <a:buSzPct val="70000"/>
              <a:buFontTx/>
              <a:buNone/>
              <a:tabLst/>
              <a:defRPr/>
            </a:pPr>
            <a:r>
              <a:rPr lang="en-US" noProof="0"/>
              <a:t>Feature description</a:t>
            </a:r>
          </a:p>
        </p:txBody>
      </p:sp>
      <p:sp>
        <p:nvSpPr>
          <p:cNvPr id="14" name="Espace réservé du texte 9">
            <a:extLst>
              <a:ext uri="{FF2B5EF4-FFF2-40B4-BE49-F238E27FC236}">
                <a16:creationId xmlns="" xmlns:a16="http://schemas.microsoft.com/office/drawing/2014/main" id="{B27B9766-49B0-BD41-8944-C3E0D752D75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93577" y="3465571"/>
            <a:ext cx="4960222" cy="361631"/>
          </a:xfrm>
          <a:prstGeom prst="rect">
            <a:avLst/>
          </a:prstGeom>
        </p:spPr>
        <p:txBody>
          <a:bodyPr/>
          <a:lstStyle>
            <a:lvl1pPr marL="47997" indent="0" algn="l">
              <a:buNone/>
              <a:defRPr sz="2400" b="0" i="0">
                <a:solidFill>
                  <a:schemeClr val="accent3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noProof="0"/>
              <a:t>Benefit</a:t>
            </a:r>
          </a:p>
        </p:txBody>
      </p:sp>
      <p:sp>
        <p:nvSpPr>
          <p:cNvPr id="15" name="Espace réservé du texte 9">
            <a:extLst>
              <a:ext uri="{FF2B5EF4-FFF2-40B4-BE49-F238E27FC236}">
                <a16:creationId xmlns="" xmlns:a16="http://schemas.microsoft.com/office/drawing/2014/main" id="{5DAD1417-7BFE-2B4B-8ACC-0409D8C0F73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93576" y="5466783"/>
            <a:ext cx="4960220" cy="719949"/>
          </a:xfrm>
          <a:prstGeom prst="rect">
            <a:avLst/>
          </a:prstGeom>
        </p:spPr>
        <p:txBody>
          <a:bodyPr/>
          <a:lstStyle>
            <a:lvl1pPr marL="47997" marR="0" indent="0" algn="l" defTabSz="12191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072"/>
              </a:buClr>
              <a:buSzPct val="70000"/>
              <a:buFontTx/>
              <a:buNone/>
              <a:tabLst/>
              <a:defRPr sz="2000" b="0" i="0">
                <a:solidFill>
                  <a:schemeClr val="tx1"/>
                </a:solidFill>
                <a:latin typeface="+mn-lt"/>
              </a:defRPr>
            </a:lvl1pPr>
          </a:lstStyle>
          <a:p>
            <a:pPr marL="47997" marR="0" lvl="0" indent="0" algn="l" defTabSz="12191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3072"/>
              </a:buClr>
              <a:buSzPct val="70000"/>
              <a:buFontTx/>
              <a:buNone/>
              <a:tabLst/>
              <a:defRPr/>
            </a:pPr>
            <a:r>
              <a:rPr lang="en-US" noProof="0"/>
              <a:t>Feature description</a:t>
            </a:r>
          </a:p>
        </p:txBody>
      </p:sp>
      <p:sp>
        <p:nvSpPr>
          <p:cNvPr id="16" name="Espace réservé du texte 9">
            <a:extLst>
              <a:ext uri="{FF2B5EF4-FFF2-40B4-BE49-F238E27FC236}">
                <a16:creationId xmlns="" xmlns:a16="http://schemas.microsoft.com/office/drawing/2014/main" id="{6C5046A9-94DD-7B41-85CE-0617CD42670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93577" y="5035825"/>
            <a:ext cx="4960222" cy="361631"/>
          </a:xfrm>
          <a:prstGeom prst="rect">
            <a:avLst/>
          </a:prstGeom>
        </p:spPr>
        <p:txBody>
          <a:bodyPr/>
          <a:lstStyle>
            <a:lvl1pPr marL="47997" indent="0" algn="l">
              <a:buNone/>
              <a:defRPr sz="2400" b="0" i="0">
                <a:solidFill>
                  <a:schemeClr val="accent3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noProof="0"/>
              <a:t>Benefit</a:t>
            </a:r>
          </a:p>
        </p:txBody>
      </p:sp>
    </p:spTree>
    <p:extLst>
      <p:ext uri="{BB962C8B-B14F-4D97-AF65-F5344CB8AC3E}">
        <p14:creationId xmlns:p14="http://schemas.microsoft.com/office/powerpoint/2010/main" val="5032234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3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3DEFFF8E-E9D1-4F36-9B74-79561F16FB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3DEFFF8E-E9D1-4F36-9B74-79561F16F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pour une image  5">
            <a:extLst>
              <a:ext uri="{FF2B5EF4-FFF2-40B4-BE49-F238E27FC236}">
                <a16:creationId xmlns="" xmlns:a16="http://schemas.microsoft.com/office/drawing/2014/main" id="{FEB3A25B-944B-2F41-A052-19FD4BF8BE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auto">
          <a:xfrm>
            <a:off x="-10105" y="0"/>
            <a:ext cx="5543072" cy="6858000"/>
          </a:xfrm>
          <a:custGeom>
            <a:avLst/>
            <a:gdLst>
              <a:gd name="connsiteX0" fmla="*/ 0 w 4149725"/>
              <a:gd name="connsiteY0" fmla="*/ 5143500 h 5143500"/>
              <a:gd name="connsiteX1" fmla="*/ 570919 w 4149725"/>
              <a:gd name="connsiteY1" fmla="*/ 0 h 5143500"/>
              <a:gd name="connsiteX2" fmla="*/ 4149725 w 4149725"/>
              <a:gd name="connsiteY2" fmla="*/ 0 h 5143500"/>
              <a:gd name="connsiteX3" fmla="*/ 3578806 w 4149725"/>
              <a:gd name="connsiteY3" fmla="*/ 5143500 h 5143500"/>
              <a:gd name="connsiteX4" fmla="*/ 0 w 4149725"/>
              <a:gd name="connsiteY4" fmla="*/ 5143500 h 5143500"/>
              <a:gd name="connsiteX0" fmla="*/ 7579 w 4157304"/>
              <a:gd name="connsiteY0" fmla="*/ 5143500 h 5143500"/>
              <a:gd name="connsiteX1" fmla="*/ 0 w 4157304"/>
              <a:gd name="connsiteY1" fmla="*/ 6220 h 5143500"/>
              <a:gd name="connsiteX2" fmla="*/ 4157304 w 4157304"/>
              <a:gd name="connsiteY2" fmla="*/ 0 h 5143500"/>
              <a:gd name="connsiteX3" fmla="*/ 3586385 w 4157304"/>
              <a:gd name="connsiteY3" fmla="*/ 5143500 h 5143500"/>
              <a:gd name="connsiteX4" fmla="*/ 7579 w 4157304"/>
              <a:gd name="connsiteY4" fmla="*/ 5143500 h 5143500"/>
              <a:gd name="connsiteX0" fmla="*/ 7579 w 4157304"/>
              <a:gd name="connsiteY0" fmla="*/ 5155941 h 5155941"/>
              <a:gd name="connsiteX1" fmla="*/ 0 w 4157304"/>
              <a:gd name="connsiteY1" fmla="*/ 0 h 5155941"/>
              <a:gd name="connsiteX2" fmla="*/ 4157304 w 4157304"/>
              <a:gd name="connsiteY2" fmla="*/ 12441 h 5155941"/>
              <a:gd name="connsiteX3" fmla="*/ 3586385 w 4157304"/>
              <a:gd name="connsiteY3" fmla="*/ 5155941 h 5155941"/>
              <a:gd name="connsiteX4" fmla="*/ 7579 w 4157304"/>
              <a:gd name="connsiteY4" fmla="*/ 5155941 h 5155941"/>
              <a:gd name="connsiteX0" fmla="*/ 7579 w 4157304"/>
              <a:gd name="connsiteY0" fmla="*/ 5143500 h 5143500"/>
              <a:gd name="connsiteX1" fmla="*/ 0 w 4157304"/>
              <a:gd name="connsiteY1" fmla="*/ 6220 h 5143500"/>
              <a:gd name="connsiteX2" fmla="*/ 4157304 w 4157304"/>
              <a:gd name="connsiteY2" fmla="*/ 0 h 5143500"/>
              <a:gd name="connsiteX3" fmla="*/ 3586385 w 4157304"/>
              <a:gd name="connsiteY3" fmla="*/ 5143500 h 5143500"/>
              <a:gd name="connsiteX4" fmla="*/ 7579 w 4157304"/>
              <a:gd name="connsiteY4" fmla="*/ 5143500 h 5143500"/>
              <a:gd name="connsiteX0" fmla="*/ 7579 w 4157304"/>
              <a:gd name="connsiteY0" fmla="*/ 5149721 h 5149721"/>
              <a:gd name="connsiteX1" fmla="*/ 0 w 4157304"/>
              <a:gd name="connsiteY1" fmla="*/ 0 h 5149721"/>
              <a:gd name="connsiteX2" fmla="*/ 4157304 w 4157304"/>
              <a:gd name="connsiteY2" fmla="*/ 6221 h 5149721"/>
              <a:gd name="connsiteX3" fmla="*/ 3586385 w 4157304"/>
              <a:gd name="connsiteY3" fmla="*/ 5149721 h 5149721"/>
              <a:gd name="connsiteX4" fmla="*/ 7579 w 4157304"/>
              <a:gd name="connsiteY4" fmla="*/ 5149721 h 5149721"/>
              <a:gd name="connsiteX0" fmla="*/ 7579 w 4157304"/>
              <a:gd name="connsiteY0" fmla="*/ 5143500 h 5143500"/>
              <a:gd name="connsiteX1" fmla="*/ 0 w 4157304"/>
              <a:gd name="connsiteY1" fmla="*/ 0 h 5143500"/>
              <a:gd name="connsiteX2" fmla="*/ 4157304 w 4157304"/>
              <a:gd name="connsiteY2" fmla="*/ 0 h 5143500"/>
              <a:gd name="connsiteX3" fmla="*/ 3586385 w 4157304"/>
              <a:gd name="connsiteY3" fmla="*/ 5143500 h 5143500"/>
              <a:gd name="connsiteX4" fmla="*/ 7579 w 4157304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57304" h="5143500">
                <a:moveTo>
                  <a:pt x="7579" y="5143500"/>
                </a:moveTo>
                <a:cubicBezTo>
                  <a:pt x="5053" y="3431073"/>
                  <a:pt x="2526" y="1712427"/>
                  <a:pt x="0" y="0"/>
                </a:cubicBezTo>
                <a:lnTo>
                  <a:pt x="4157304" y="0"/>
                </a:lnTo>
                <a:lnTo>
                  <a:pt x="3586385" y="5143500"/>
                </a:lnTo>
                <a:lnTo>
                  <a:pt x="7579" y="514350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 b="0" i="0">
                <a:latin typeface="Calibri Light" panose="020F030202020403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9" name="Title 1">
            <a:extLst>
              <a:ext uri="{FF2B5EF4-FFF2-40B4-BE49-F238E27FC236}">
                <a16:creationId xmlns="" xmlns:a16="http://schemas.microsoft.com/office/drawing/2014/main" id="{B70AEDEC-0ABE-0644-8B02-83228E508F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2801" y="733007"/>
            <a:ext cx="5461698" cy="1313180"/>
          </a:xfrm>
          <a:prstGeom prst="rect">
            <a:avLst/>
          </a:prstGeom>
        </p:spPr>
        <p:txBody>
          <a:bodyPr anchor="t"/>
          <a:lstStyle>
            <a:lvl1pPr>
              <a:defRPr sz="4267" b="0" i="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93AC01B3-A838-FF41-B0DD-096002FC96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2801" y="2305381"/>
            <a:ext cx="5460999" cy="334965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3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="" xmlns:a16="http://schemas.microsoft.com/office/drawing/2014/main" id="{955C8DCD-1973-B540-A4C5-D1421EAC1A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92801" y="2731947"/>
            <a:ext cx="5460999" cy="681190"/>
          </a:xfrm>
        </p:spPr>
        <p:txBody>
          <a:bodyPr/>
          <a:lstStyle>
            <a:lvl1pPr marL="0" indent="0">
              <a:buNone/>
              <a:defRPr sz="2000"/>
            </a:lvl1pPr>
            <a:lvl2pPr marL="457189" indent="0">
              <a:buNone/>
              <a:defRPr/>
            </a:lvl2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7D6D4E37-7B84-D148-9FA2-4A25338DDD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92801" y="3711427"/>
            <a:ext cx="5460999" cy="334965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3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="" xmlns:a16="http://schemas.microsoft.com/office/drawing/2014/main" id="{3A94CFEE-3DB3-7D4B-AB0B-3C50D2CEF44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92801" y="4137993"/>
            <a:ext cx="5460999" cy="681190"/>
          </a:xfrm>
        </p:spPr>
        <p:txBody>
          <a:bodyPr/>
          <a:lstStyle>
            <a:lvl1pPr marL="0" indent="0">
              <a:buNone/>
              <a:defRPr sz="2000"/>
            </a:lvl1pPr>
            <a:lvl2pPr marL="457189" indent="0">
              <a:buNone/>
              <a:defRPr/>
            </a:lvl2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12" name="Espace réservé du texte 5">
            <a:extLst>
              <a:ext uri="{FF2B5EF4-FFF2-40B4-BE49-F238E27FC236}">
                <a16:creationId xmlns="" xmlns:a16="http://schemas.microsoft.com/office/drawing/2014/main" id="{142112E0-3E85-E64B-B973-2FB10D198C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92800" y="487599"/>
            <a:ext cx="5460998" cy="198783"/>
          </a:xfrm>
          <a:prstGeom prst="rect">
            <a:avLst/>
          </a:prstGeom>
        </p:spPr>
        <p:txBody>
          <a:bodyPr>
            <a:noAutofit/>
          </a:bodyPr>
          <a:lstStyle>
            <a:lvl1pPr marL="47997" indent="0" algn="l">
              <a:buNone/>
              <a:defRPr sz="1600" b="1" i="0" spc="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="" xmlns:a16="http://schemas.microsoft.com/office/drawing/2014/main" id="{E32AAADD-CA68-5F40-90CD-C3329FF313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92801" y="5089290"/>
            <a:ext cx="5460999" cy="334965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3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18" name="Text Placeholder 21">
            <a:extLst>
              <a:ext uri="{FF2B5EF4-FFF2-40B4-BE49-F238E27FC236}">
                <a16:creationId xmlns="" xmlns:a16="http://schemas.microsoft.com/office/drawing/2014/main" id="{99A3B0DC-2EF8-3D47-9FC0-7BCE0BA7B0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892801" y="5515856"/>
            <a:ext cx="5460999" cy="681190"/>
          </a:xfrm>
        </p:spPr>
        <p:txBody>
          <a:bodyPr/>
          <a:lstStyle>
            <a:lvl1pPr marL="0" indent="0">
              <a:buNone/>
              <a:defRPr sz="2000"/>
            </a:lvl1pPr>
            <a:lvl2pPr marL="457189" indent="0">
              <a:buNone/>
              <a:defRPr/>
            </a:lvl2pPr>
          </a:lstStyle>
          <a:p>
            <a:pPr lvl="0"/>
            <a:r>
              <a:rPr lang="en-US" noProof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0626073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1">
          <p15:clr>
            <a:srgbClr val="FBAE40"/>
          </p15:clr>
        </p15:guide>
        <p15:guide id="2" pos="16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Text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FA72C90F-C3F6-104F-9295-668E663F0F0E}"/>
              </a:ext>
            </a:extLst>
          </p:cNvPr>
          <p:cNvSpPr/>
          <p:nvPr userDrawn="1"/>
        </p:nvSpPr>
        <p:spPr>
          <a:xfrm>
            <a:off x="10760149" y="6086705"/>
            <a:ext cx="1431851" cy="7712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3DEFFF8E-E9D1-4F36-9B74-79561F16FB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3DEFFF8E-E9D1-4F36-9B74-79561F16F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Espace réservé pour une image  8">
            <a:extLst>
              <a:ext uri="{FF2B5EF4-FFF2-40B4-BE49-F238E27FC236}">
                <a16:creationId xmlns="" xmlns:a16="http://schemas.microsoft.com/office/drawing/2014/main" id="{C1AFB5BA-1043-9545-AC9B-FFF2F33F07C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auto">
          <a:xfrm>
            <a:off x="7103533" y="0"/>
            <a:ext cx="5088467" cy="6858000"/>
          </a:xfrm>
          <a:custGeom>
            <a:avLst/>
            <a:gdLst>
              <a:gd name="connsiteX0" fmla="*/ 0 w 3816350"/>
              <a:gd name="connsiteY0" fmla="*/ 5143500 h 5143500"/>
              <a:gd name="connsiteX1" fmla="*/ 0 w 3816350"/>
              <a:gd name="connsiteY1" fmla="*/ 0 h 5143500"/>
              <a:gd name="connsiteX2" fmla="*/ 3816350 w 3816350"/>
              <a:gd name="connsiteY2" fmla="*/ 0 h 5143500"/>
              <a:gd name="connsiteX3" fmla="*/ 3816350 w 3816350"/>
              <a:gd name="connsiteY3" fmla="*/ 5143500 h 5143500"/>
              <a:gd name="connsiteX4" fmla="*/ 0 w 3816350"/>
              <a:gd name="connsiteY4" fmla="*/ 5143500 h 5143500"/>
              <a:gd name="connsiteX0" fmla="*/ 447869 w 3816350"/>
              <a:gd name="connsiteY0" fmla="*/ 5143500 h 5143500"/>
              <a:gd name="connsiteX1" fmla="*/ 0 w 3816350"/>
              <a:gd name="connsiteY1" fmla="*/ 0 h 5143500"/>
              <a:gd name="connsiteX2" fmla="*/ 3816350 w 3816350"/>
              <a:gd name="connsiteY2" fmla="*/ 0 h 5143500"/>
              <a:gd name="connsiteX3" fmla="*/ 3816350 w 3816350"/>
              <a:gd name="connsiteY3" fmla="*/ 5143500 h 5143500"/>
              <a:gd name="connsiteX4" fmla="*/ 447869 w 3816350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16350" h="5143500">
                <a:moveTo>
                  <a:pt x="447869" y="5143500"/>
                </a:moveTo>
                <a:lnTo>
                  <a:pt x="0" y="0"/>
                </a:lnTo>
                <a:lnTo>
                  <a:pt x="3816350" y="0"/>
                </a:lnTo>
                <a:lnTo>
                  <a:pt x="3816350" y="5143500"/>
                </a:lnTo>
                <a:lnTo>
                  <a:pt x="447869" y="514350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 b="0" i="0">
                <a:latin typeface="Calibri Light" panose="020F030202020403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7" name="Title 1">
            <a:extLst>
              <a:ext uri="{FF2B5EF4-FFF2-40B4-BE49-F238E27FC236}">
                <a16:creationId xmlns="" xmlns:a16="http://schemas.microsoft.com/office/drawing/2014/main" id="{16520907-AF95-4A4C-8525-648F69CE98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7456" y="1259099"/>
            <a:ext cx="5806936" cy="1313180"/>
          </a:xfrm>
          <a:prstGeom prst="rect">
            <a:avLst/>
          </a:prstGeom>
        </p:spPr>
        <p:txBody>
          <a:bodyPr anchor="t"/>
          <a:lstStyle>
            <a:lvl1pPr>
              <a:defRPr sz="4267" b="0" i="0">
                <a:solidFill>
                  <a:srgbClr val="494949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5" name="Text Placeholder 4">
            <a:extLst>
              <a:ext uri="{FF2B5EF4-FFF2-40B4-BE49-F238E27FC236}">
                <a16:creationId xmlns="" xmlns:a16="http://schemas.microsoft.com/office/drawing/2014/main" id="{6DB1E369-D542-F346-A6A8-71EB27E5B75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199" y="2906863"/>
            <a:ext cx="5806193" cy="450992"/>
          </a:xfrm>
        </p:spPr>
        <p:txBody>
          <a:bodyPr/>
          <a:lstStyle>
            <a:lvl1pPr marL="0" indent="0">
              <a:buNone/>
              <a:defRPr sz="2667">
                <a:solidFill>
                  <a:schemeClr val="accent3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="" xmlns:a16="http://schemas.microsoft.com/office/drawing/2014/main" id="{F2AC6D2E-6801-D24B-BDEC-4D6836C30D8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199" y="3395635"/>
            <a:ext cx="5806193" cy="903817"/>
          </a:xfrm>
        </p:spPr>
        <p:txBody>
          <a:bodyPr/>
          <a:lstStyle>
            <a:lvl1pPr marL="0" indent="0">
              <a:buNone/>
              <a:defRPr sz="2000"/>
            </a:lvl1pPr>
            <a:lvl2pPr marL="457189" indent="0">
              <a:buNone/>
              <a:defRPr/>
            </a:lvl2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="" xmlns:a16="http://schemas.microsoft.com/office/drawing/2014/main" id="{18180751-4C95-B549-9F55-9655D55BAD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4694115"/>
            <a:ext cx="5806193" cy="450992"/>
          </a:xfrm>
        </p:spPr>
        <p:txBody>
          <a:bodyPr/>
          <a:lstStyle>
            <a:lvl1pPr marL="0" indent="0">
              <a:buNone/>
              <a:defRPr sz="2667">
                <a:solidFill>
                  <a:schemeClr val="accent3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18" name="Text Placeholder 21">
            <a:extLst>
              <a:ext uri="{FF2B5EF4-FFF2-40B4-BE49-F238E27FC236}">
                <a16:creationId xmlns="" xmlns:a16="http://schemas.microsoft.com/office/drawing/2014/main" id="{F33E44E8-5C36-9345-819D-E4F786FA58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199" y="5182888"/>
            <a:ext cx="5806193" cy="903817"/>
          </a:xfrm>
        </p:spPr>
        <p:txBody>
          <a:bodyPr/>
          <a:lstStyle>
            <a:lvl1pPr marL="0" indent="0">
              <a:buNone/>
              <a:defRPr sz="2000"/>
            </a:lvl1pPr>
            <a:lvl2pPr marL="457189" indent="0">
              <a:buNone/>
              <a:defRPr/>
            </a:lvl2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13" name="Espace réservé du texte 5">
            <a:extLst>
              <a:ext uri="{FF2B5EF4-FFF2-40B4-BE49-F238E27FC236}">
                <a16:creationId xmlns="" xmlns:a16="http://schemas.microsoft.com/office/drawing/2014/main" id="{880A7E46-5984-7148-92E3-7AB7C79B37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7424" y="1013691"/>
            <a:ext cx="5806192" cy="198783"/>
          </a:xfrm>
          <a:prstGeom prst="rect">
            <a:avLst/>
          </a:prstGeom>
        </p:spPr>
        <p:txBody>
          <a:bodyPr>
            <a:noAutofit/>
          </a:bodyPr>
          <a:lstStyle>
            <a:lvl1pPr marL="47997" indent="0" algn="l">
              <a:buNone/>
              <a:defRPr sz="1600" b="1" i="0" spc="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SUBTITLE</a:t>
            </a:r>
          </a:p>
        </p:txBody>
      </p:sp>
      <p:pic>
        <p:nvPicPr>
          <p:cNvPr id="11" name="Picture 24">
            <a:extLst>
              <a:ext uri="{FF2B5EF4-FFF2-40B4-BE49-F238E27FC236}">
                <a16:creationId xmlns="" xmlns:a16="http://schemas.microsoft.com/office/drawing/2014/main" id="{BA535D1F-2C83-0840-B68A-0D3E2DADE4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85370" y="6370080"/>
            <a:ext cx="1140284" cy="437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62458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911">
          <p15:clr>
            <a:srgbClr val="FBAE40"/>
          </p15:clr>
        </p15:guide>
        <p15:guide id="2" pos="162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Img +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3DEFFF8E-E9D1-4F36-9B74-79561F16FB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3DEFFF8E-E9D1-4F36-9B74-79561F16F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pour une image  5">
            <a:extLst>
              <a:ext uri="{FF2B5EF4-FFF2-40B4-BE49-F238E27FC236}">
                <a16:creationId xmlns="" xmlns:a16="http://schemas.microsoft.com/office/drawing/2014/main" id="{FEB3A25B-944B-2F41-A052-19FD4BF8BE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auto">
          <a:xfrm>
            <a:off x="-10105" y="0"/>
            <a:ext cx="5543072" cy="6858000"/>
          </a:xfrm>
          <a:custGeom>
            <a:avLst/>
            <a:gdLst>
              <a:gd name="connsiteX0" fmla="*/ 0 w 4149725"/>
              <a:gd name="connsiteY0" fmla="*/ 5143500 h 5143500"/>
              <a:gd name="connsiteX1" fmla="*/ 570919 w 4149725"/>
              <a:gd name="connsiteY1" fmla="*/ 0 h 5143500"/>
              <a:gd name="connsiteX2" fmla="*/ 4149725 w 4149725"/>
              <a:gd name="connsiteY2" fmla="*/ 0 h 5143500"/>
              <a:gd name="connsiteX3" fmla="*/ 3578806 w 4149725"/>
              <a:gd name="connsiteY3" fmla="*/ 5143500 h 5143500"/>
              <a:gd name="connsiteX4" fmla="*/ 0 w 4149725"/>
              <a:gd name="connsiteY4" fmla="*/ 5143500 h 5143500"/>
              <a:gd name="connsiteX0" fmla="*/ 7579 w 4157304"/>
              <a:gd name="connsiteY0" fmla="*/ 5143500 h 5143500"/>
              <a:gd name="connsiteX1" fmla="*/ 0 w 4157304"/>
              <a:gd name="connsiteY1" fmla="*/ 6220 h 5143500"/>
              <a:gd name="connsiteX2" fmla="*/ 4157304 w 4157304"/>
              <a:gd name="connsiteY2" fmla="*/ 0 h 5143500"/>
              <a:gd name="connsiteX3" fmla="*/ 3586385 w 4157304"/>
              <a:gd name="connsiteY3" fmla="*/ 5143500 h 5143500"/>
              <a:gd name="connsiteX4" fmla="*/ 7579 w 4157304"/>
              <a:gd name="connsiteY4" fmla="*/ 5143500 h 5143500"/>
              <a:gd name="connsiteX0" fmla="*/ 7579 w 4157304"/>
              <a:gd name="connsiteY0" fmla="*/ 5155941 h 5155941"/>
              <a:gd name="connsiteX1" fmla="*/ 0 w 4157304"/>
              <a:gd name="connsiteY1" fmla="*/ 0 h 5155941"/>
              <a:gd name="connsiteX2" fmla="*/ 4157304 w 4157304"/>
              <a:gd name="connsiteY2" fmla="*/ 12441 h 5155941"/>
              <a:gd name="connsiteX3" fmla="*/ 3586385 w 4157304"/>
              <a:gd name="connsiteY3" fmla="*/ 5155941 h 5155941"/>
              <a:gd name="connsiteX4" fmla="*/ 7579 w 4157304"/>
              <a:gd name="connsiteY4" fmla="*/ 5155941 h 5155941"/>
              <a:gd name="connsiteX0" fmla="*/ 7579 w 4157304"/>
              <a:gd name="connsiteY0" fmla="*/ 5143500 h 5143500"/>
              <a:gd name="connsiteX1" fmla="*/ 0 w 4157304"/>
              <a:gd name="connsiteY1" fmla="*/ 6220 h 5143500"/>
              <a:gd name="connsiteX2" fmla="*/ 4157304 w 4157304"/>
              <a:gd name="connsiteY2" fmla="*/ 0 h 5143500"/>
              <a:gd name="connsiteX3" fmla="*/ 3586385 w 4157304"/>
              <a:gd name="connsiteY3" fmla="*/ 5143500 h 5143500"/>
              <a:gd name="connsiteX4" fmla="*/ 7579 w 4157304"/>
              <a:gd name="connsiteY4" fmla="*/ 5143500 h 5143500"/>
              <a:gd name="connsiteX0" fmla="*/ 7579 w 4157304"/>
              <a:gd name="connsiteY0" fmla="*/ 5149721 h 5149721"/>
              <a:gd name="connsiteX1" fmla="*/ 0 w 4157304"/>
              <a:gd name="connsiteY1" fmla="*/ 0 h 5149721"/>
              <a:gd name="connsiteX2" fmla="*/ 4157304 w 4157304"/>
              <a:gd name="connsiteY2" fmla="*/ 6221 h 5149721"/>
              <a:gd name="connsiteX3" fmla="*/ 3586385 w 4157304"/>
              <a:gd name="connsiteY3" fmla="*/ 5149721 h 5149721"/>
              <a:gd name="connsiteX4" fmla="*/ 7579 w 4157304"/>
              <a:gd name="connsiteY4" fmla="*/ 5149721 h 5149721"/>
              <a:gd name="connsiteX0" fmla="*/ 7579 w 4157304"/>
              <a:gd name="connsiteY0" fmla="*/ 5143500 h 5143500"/>
              <a:gd name="connsiteX1" fmla="*/ 0 w 4157304"/>
              <a:gd name="connsiteY1" fmla="*/ 0 h 5143500"/>
              <a:gd name="connsiteX2" fmla="*/ 4157304 w 4157304"/>
              <a:gd name="connsiteY2" fmla="*/ 0 h 5143500"/>
              <a:gd name="connsiteX3" fmla="*/ 3586385 w 4157304"/>
              <a:gd name="connsiteY3" fmla="*/ 5143500 h 5143500"/>
              <a:gd name="connsiteX4" fmla="*/ 7579 w 4157304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57304" h="5143500">
                <a:moveTo>
                  <a:pt x="7579" y="5143500"/>
                </a:moveTo>
                <a:cubicBezTo>
                  <a:pt x="5053" y="3431073"/>
                  <a:pt x="2526" y="1712427"/>
                  <a:pt x="0" y="0"/>
                </a:cubicBezTo>
                <a:lnTo>
                  <a:pt x="4157304" y="0"/>
                </a:lnTo>
                <a:lnTo>
                  <a:pt x="3586385" y="5143500"/>
                </a:lnTo>
                <a:lnTo>
                  <a:pt x="7579" y="514350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>
            <a:lvl1pPr>
              <a:defRPr b="0" i="0">
                <a:latin typeface="Calibri Light" panose="020F030202020403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9" name="Title 1">
            <a:extLst>
              <a:ext uri="{FF2B5EF4-FFF2-40B4-BE49-F238E27FC236}">
                <a16:creationId xmlns="" xmlns:a16="http://schemas.microsoft.com/office/drawing/2014/main" id="{B70AEDEC-0ABE-0644-8B02-83228E508F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2309" y="2509253"/>
            <a:ext cx="5481491" cy="2931043"/>
          </a:xfrm>
          <a:prstGeom prst="rect">
            <a:avLst/>
          </a:prstGeom>
        </p:spPr>
        <p:txBody>
          <a:bodyPr anchor="t"/>
          <a:lstStyle>
            <a:lvl1pPr marL="152396" marR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200" b="0" i="0">
                <a:solidFill>
                  <a:schemeClr val="accent3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GB" noProof="0" dirty="0"/>
              <a:t>Simple.</a:t>
            </a:r>
            <a:br>
              <a:rPr lang="en-GB" noProof="0" dirty="0"/>
            </a:br>
            <a:r>
              <a:rPr lang="en-GB" noProof="0" dirty="0"/>
              <a:t>Scalable.</a:t>
            </a:r>
            <a:br>
              <a:rPr lang="en-GB" noProof="0" dirty="0"/>
            </a:br>
            <a:r>
              <a:rPr lang="en-GB" noProof="0" dirty="0"/>
              <a:t>Sustainable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="" xmlns:a16="http://schemas.microsoft.com/office/drawing/2014/main" id="{6752F7B4-7E36-C643-B170-84C1FA8AC0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82106" y="1897536"/>
            <a:ext cx="5480790" cy="450992"/>
          </a:xfrm>
        </p:spPr>
        <p:txBody>
          <a:bodyPr/>
          <a:lstStyle>
            <a:lvl1pPr marL="0" indent="0">
              <a:buNone/>
              <a:defRPr sz="2667">
                <a:solidFill>
                  <a:schemeClr val="tx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9" name="Espace réservé du texte 5">
            <a:extLst>
              <a:ext uri="{FF2B5EF4-FFF2-40B4-BE49-F238E27FC236}">
                <a16:creationId xmlns="" xmlns:a16="http://schemas.microsoft.com/office/drawing/2014/main" id="{B9F284FE-5CA4-FE4C-8245-03726EA20C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92799" y="1600658"/>
            <a:ext cx="5480789" cy="198783"/>
          </a:xfrm>
          <a:prstGeom prst="rect">
            <a:avLst/>
          </a:prstGeom>
        </p:spPr>
        <p:txBody>
          <a:bodyPr>
            <a:noAutofit/>
          </a:bodyPr>
          <a:lstStyle>
            <a:lvl1pPr marL="47997" indent="0" algn="l">
              <a:buNone/>
              <a:defRPr sz="1600" b="1" i="0" spc="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82107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11">
          <p15:clr>
            <a:srgbClr val="FBAE40"/>
          </p15:clr>
        </p15:guide>
        <p15:guide id="2" pos="162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und Graphic + Title + 2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pour une image  8">
            <a:extLst>
              <a:ext uri="{FF2B5EF4-FFF2-40B4-BE49-F238E27FC236}">
                <a16:creationId xmlns="" xmlns:a16="http://schemas.microsoft.com/office/drawing/2014/main" id="{9CF841E7-A8A2-E141-913E-9B348B7B693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1095" y="979283"/>
            <a:ext cx="4899436" cy="4899436"/>
          </a:xfrm>
          <a:prstGeom prst="ellipse">
            <a:avLst/>
          </a:prstGeom>
          <a:effectLst/>
        </p:spPr>
        <p:txBody>
          <a:bodyPr/>
          <a:lstStyle>
            <a:lvl1pPr>
              <a:defRPr b="0" i="0">
                <a:latin typeface="Calibri Light" panose="020F030202020403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37E65452-3021-164C-A433-1F11918004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92801" y="1259099"/>
            <a:ext cx="5461698" cy="1313180"/>
          </a:xfrm>
          <a:prstGeom prst="rect">
            <a:avLst/>
          </a:prstGeom>
        </p:spPr>
        <p:txBody>
          <a:bodyPr anchor="t"/>
          <a:lstStyle>
            <a:lvl1pPr>
              <a:defRPr sz="4267" b="0" i="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5" name="Text Placeholder 4">
            <a:extLst>
              <a:ext uri="{FF2B5EF4-FFF2-40B4-BE49-F238E27FC236}">
                <a16:creationId xmlns="" xmlns:a16="http://schemas.microsoft.com/office/drawing/2014/main" id="{FEEAE34F-F5C1-4348-9545-362612407C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92801" y="2817284"/>
            <a:ext cx="5460999" cy="339116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3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16" name="Text Placeholder 21">
            <a:extLst>
              <a:ext uri="{FF2B5EF4-FFF2-40B4-BE49-F238E27FC236}">
                <a16:creationId xmlns="" xmlns:a16="http://schemas.microsoft.com/office/drawing/2014/main" id="{FCCE0AED-7C17-DB4D-94FC-F708C86DD1C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92801" y="3306057"/>
            <a:ext cx="5460999" cy="903817"/>
          </a:xfrm>
        </p:spPr>
        <p:txBody>
          <a:bodyPr/>
          <a:lstStyle>
            <a:lvl1pPr marL="0" indent="0">
              <a:buNone/>
              <a:defRPr sz="2000"/>
            </a:lvl1pPr>
            <a:lvl2pPr marL="457189" indent="0">
              <a:buNone/>
              <a:defRPr/>
            </a:lvl2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="" xmlns:a16="http://schemas.microsoft.com/office/drawing/2014/main" id="{AFF35BBF-B4DF-5C48-B2E6-3622D2B5E3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92801" y="4604536"/>
            <a:ext cx="5460999" cy="339116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3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18" name="Text Placeholder 21">
            <a:extLst>
              <a:ext uri="{FF2B5EF4-FFF2-40B4-BE49-F238E27FC236}">
                <a16:creationId xmlns="" xmlns:a16="http://schemas.microsoft.com/office/drawing/2014/main" id="{83760569-BB60-0749-864C-8FB273B893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92801" y="5093309"/>
            <a:ext cx="5460999" cy="903817"/>
          </a:xfrm>
        </p:spPr>
        <p:txBody>
          <a:bodyPr/>
          <a:lstStyle>
            <a:lvl1pPr marL="0" indent="0">
              <a:buNone/>
              <a:defRPr sz="2000"/>
            </a:lvl1pPr>
            <a:lvl2pPr marL="457189" indent="0">
              <a:buNone/>
              <a:defRPr/>
            </a:lvl2pPr>
          </a:lstStyle>
          <a:p>
            <a:pPr lvl="0"/>
            <a:r>
              <a:rPr lang="en-US" noProof="0"/>
              <a:t>Text</a:t>
            </a:r>
          </a:p>
        </p:txBody>
      </p:sp>
      <p:sp>
        <p:nvSpPr>
          <p:cNvPr id="11" name="Espace réservé du texte 5">
            <a:extLst>
              <a:ext uri="{FF2B5EF4-FFF2-40B4-BE49-F238E27FC236}">
                <a16:creationId xmlns="" xmlns:a16="http://schemas.microsoft.com/office/drawing/2014/main" id="{953C32A4-6065-D141-BF26-7D74CB145D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92800" y="985487"/>
            <a:ext cx="5460998" cy="198783"/>
          </a:xfrm>
          <a:prstGeom prst="rect">
            <a:avLst/>
          </a:prstGeom>
        </p:spPr>
        <p:txBody>
          <a:bodyPr>
            <a:noAutofit/>
          </a:bodyPr>
          <a:lstStyle>
            <a:lvl1pPr marL="47997" indent="0" algn="l">
              <a:buNone/>
              <a:defRPr sz="1600" b="1" i="0" spc="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7282353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3DEFFF8E-E9D1-4F36-9B74-79561F16FB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3DEFFF8E-E9D1-4F36-9B74-79561F16F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>
            <a:extLst>
              <a:ext uri="{FF2B5EF4-FFF2-40B4-BE49-F238E27FC236}">
                <a16:creationId xmlns="" xmlns:a16="http://schemas.microsoft.com/office/drawing/2014/main" id="{8D3EAA49-F184-BD4D-9F5A-3CC8C8CEE1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969491"/>
            <a:ext cx="10515600" cy="656591"/>
          </a:xfrm>
        </p:spPr>
        <p:txBody>
          <a:bodyPr/>
          <a:lstStyle>
            <a:lvl1pPr>
              <a:defRPr sz="4267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fr-FR"/>
          </a:p>
        </p:txBody>
      </p:sp>
      <p:sp>
        <p:nvSpPr>
          <p:cNvPr id="10" name="Espace réservé du texte 5">
            <a:extLst>
              <a:ext uri="{FF2B5EF4-FFF2-40B4-BE49-F238E27FC236}">
                <a16:creationId xmlns="" xmlns:a16="http://schemas.microsoft.com/office/drawing/2014/main" id="{F0BBC4ED-2030-B84E-814F-33F8C64BE2B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8200" y="629307"/>
            <a:ext cx="10515600" cy="263827"/>
          </a:xfrm>
          <a:prstGeom prst="rect">
            <a:avLst/>
          </a:prstGeom>
        </p:spPr>
        <p:txBody>
          <a:bodyPr/>
          <a:lstStyle>
            <a:lvl1pPr marL="47997" indent="0" algn="l">
              <a:buNone/>
              <a:defRPr sz="1600" b="1" i="0" spc="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1946350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F6889390-9D92-BB42-9B05-B3A89F4D3E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965863"/>
            <a:ext cx="10515600" cy="656591"/>
          </a:xfrm>
        </p:spPr>
        <p:txBody>
          <a:bodyPr/>
          <a:lstStyle>
            <a:lvl1pPr>
              <a:defRPr sz="4267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fr-FR"/>
          </a:p>
        </p:txBody>
      </p:sp>
      <p:sp>
        <p:nvSpPr>
          <p:cNvPr id="7" name="Espace réservé du texte 4">
            <a:extLst>
              <a:ext uri="{FF2B5EF4-FFF2-40B4-BE49-F238E27FC236}">
                <a16:creationId xmlns="" xmlns:a16="http://schemas.microsoft.com/office/drawing/2014/main" id="{144996A3-3781-6D41-A076-24721486950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2131877"/>
            <a:ext cx="10515600" cy="3745159"/>
          </a:xfrm>
        </p:spPr>
        <p:txBody>
          <a:bodyPr/>
          <a:lstStyle>
            <a:lvl1pPr>
              <a:buClr>
                <a:schemeClr val="accent3"/>
              </a:buClr>
              <a:defRPr sz="2800" b="0" i="0">
                <a:solidFill>
                  <a:schemeClr val="tx2"/>
                </a:solidFill>
                <a:latin typeface="+mn-lt"/>
              </a:defRPr>
            </a:lvl1pPr>
            <a:lvl2pPr>
              <a:buClr>
                <a:schemeClr val="accent3"/>
              </a:buClr>
              <a:defRPr sz="2000" b="0" i="0">
                <a:solidFill>
                  <a:schemeClr val="tx2"/>
                </a:solidFill>
                <a:latin typeface="+mn-lt"/>
              </a:defRPr>
            </a:lvl2pPr>
            <a:lvl3pPr>
              <a:buClr>
                <a:schemeClr val="accent3"/>
              </a:buClr>
              <a:defRPr sz="1600" b="0" i="0">
                <a:solidFill>
                  <a:schemeClr val="tx2"/>
                </a:solidFill>
                <a:latin typeface="+mn-lt"/>
              </a:defRPr>
            </a:lvl3pPr>
            <a:lvl4pPr>
              <a:defRPr sz="1867"/>
            </a:lvl4pPr>
          </a:lstStyle>
          <a:p>
            <a:r>
              <a:rPr lang="en-US" noProof="0" dirty="0"/>
              <a:t>Add text here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8" name="Espace réservé du texte 5">
            <a:extLst>
              <a:ext uri="{FF2B5EF4-FFF2-40B4-BE49-F238E27FC236}">
                <a16:creationId xmlns="" xmlns:a16="http://schemas.microsoft.com/office/drawing/2014/main" id="{C34929CA-9115-224F-A486-7C98E0BBFB0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6338" y="629308"/>
            <a:ext cx="10526786" cy="233009"/>
          </a:xfrm>
          <a:prstGeom prst="rect">
            <a:avLst/>
          </a:prstGeom>
        </p:spPr>
        <p:txBody>
          <a:bodyPr/>
          <a:lstStyle>
            <a:lvl1pPr marL="47997" indent="0" algn="l">
              <a:buNone/>
              <a:defRPr sz="1600" b="1" i="0" spc="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5087106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="" xmlns:a16="http://schemas.microsoft.com/office/drawing/2014/main" id="{18324D26-4DD3-0B4B-86C5-B6D8CAA6DEB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8800"/>
            <a:ext cx="5156200" cy="4121242"/>
          </a:xfrm>
        </p:spPr>
        <p:txBody>
          <a:bodyPr/>
          <a:lstStyle>
            <a:lvl1pPr>
              <a:buClr>
                <a:schemeClr val="accent3"/>
              </a:buClr>
              <a:defRPr sz="3733" b="0" i="0">
                <a:solidFill>
                  <a:schemeClr val="tx2"/>
                </a:solidFill>
                <a:latin typeface="+mn-lt"/>
              </a:defRPr>
            </a:lvl1pPr>
            <a:lvl2pPr>
              <a:buClr>
                <a:schemeClr val="accent3"/>
              </a:buClr>
              <a:defRPr sz="3200" b="0" i="0">
                <a:solidFill>
                  <a:schemeClr val="tx2"/>
                </a:solidFill>
                <a:latin typeface="+mn-lt"/>
              </a:defRPr>
            </a:lvl2pPr>
            <a:lvl3pPr>
              <a:buClr>
                <a:schemeClr val="accent3"/>
              </a:buClr>
              <a:defRPr sz="2667" b="0" i="0">
                <a:solidFill>
                  <a:schemeClr val="tx2"/>
                </a:solidFill>
                <a:latin typeface="+mn-lt"/>
              </a:defRPr>
            </a:lvl3pPr>
            <a:lvl4pPr>
              <a:buClr>
                <a:schemeClr val="accent2"/>
              </a:buClr>
              <a:defRPr sz="2400" b="0" i="0">
                <a:latin typeface="Work Sans ExtraLight" pitchFamily="2" charset="77"/>
              </a:defRPr>
            </a:lvl4pPr>
            <a:lvl5pPr>
              <a:buClr>
                <a:schemeClr val="accent2"/>
              </a:buClr>
              <a:defRPr sz="2400" b="0" i="0">
                <a:latin typeface="Work Sans ExtraLight" pitchFamily="2" charset="77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noProof="0" dirty="0"/>
              <a:t>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="" xmlns:a16="http://schemas.microsoft.com/office/drawing/2014/main" id="{0E185D17-2BFE-7C4C-AD66-C3A2690D206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97600" y="1828800"/>
            <a:ext cx="5156199" cy="4121242"/>
          </a:xfrm>
        </p:spPr>
        <p:txBody>
          <a:bodyPr/>
          <a:lstStyle>
            <a:lvl1pPr>
              <a:buClr>
                <a:schemeClr val="accent3"/>
              </a:buClr>
              <a:defRPr sz="3733" b="0" i="0">
                <a:solidFill>
                  <a:schemeClr val="tx2"/>
                </a:solidFill>
                <a:latin typeface="+mn-lt"/>
              </a:defRPr>
            </a:lvl1pPr>
            <a:lvl2pPr>
              <a:buClr>
                <a:schemeClr val="accent3"/>
              </a:buClr>
              <a:defRPr sz="3200" b="0" i="0">
                <a:solidFill>
                  <a:schemeClr val="tx2"/>
                </a:solidFill>
                <a:latin typeface="+mn-lt"/>
              </a:defRPr>
            </a:lvl2pPr>
            <a:lvl3pPr>
              <a:buClr>
                <a:schemeClr val="accent3"/>
              </a:buClr>
              <a:defRPr sz="2667" b="0" i="0">
                <a:solidFill>
                  <a:schemeClr val="tx2"/>
                </a:solidFill>
                <a:latin typeface="+mn-lt"/>
              </a:defRPr>
            </a:lvl3pPr>
            <a:lvl4pPr>
              <a:buClr>
                <a:schemeClr val="accent2"/>
              </a:buClr>
              <a:defRPr sz="2400" b="0" i="0">
                <a:latin typeface="Work Sans ExtraLight" pitchFamily="2" charset="77"/>
              </a:defRPr>
            </a:lvl4pPr>
            <a:lvl5pPr>
              <a:buClr>
                <a:schemeClr val="accent2"/>
              </a:buClr>
              <a:defRPr sz="2400" b="0" i="0">
                <a:latin typeface="Work Sans ExtraLight" pitchFamily="2" charset="77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noProof="0"/>
              <a:t>Level 1</a:t>
            </a:r>
          </a:p>
          <a:p>
            <a:pPr lvl="1"/>
            <a:r>
              <a:rPr lang="en-US" noProof="0"/>
              <a:t>Level 2</a:t>
            </a:r>
          </a:p>
          <a:p>
            <a:pPr lvl="2"/>
            <a:r>
              <a:rPr lang="en-US" noProof="0"/>
              <a:t>Level 3</a:t>
            </a:r>
          </a:p>
        </p:txBody>
      </p:sp>
      <p:sp>
        <p:nvSpPr>
          <p:cNvPr id="12" name="Titre 1">
            <a:extLst>
              <a:ext uri="{FF2B5EF4-FFF2-40B4-BE49-F238E27FC236}">
                <a16:creationId xmlns="" xmlns:a16="http://schemas.microsoft.com/office/drawing/2014/main" id="{C139A51F-9B91-8F4F-BABD-BE273EAB54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957080"/>
            <a:ext cx="10515599" cy="656591"/>
          </a:xfrm>
        </p:spPr>
        <p:txBody>
          <a:bodyPr/>
          <a:lstStyle>
            <a:lvl1pPr algn="l">
              <a:defRPr sz="4267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  <a:endParaRPr lang="fr-FR"/>
          </a:p>
        </p:txBody>
      </p:sp>
      <p:sp>
        <p:nvSpPr>
          <p:cNvPr id="13" name="Espace réservé du texte 5">
            <a:extLst>
              <a:ext uri="{FF2B5EF4-FFF2-40B4-BE49-F238E27FC236}">
                <a16:creationId xmlns="" xmlns:a16="http://schemas.microsoft.com/office/drawing/2014/main" id="{BB7A62D4-424B-D745-BF1D-3B3828C29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8199" y="642652"/>
            <a:ext cx="10515600" cy="201784"/>
          </a:xfrm>
          <a:prstGeom prst="rect">
            <a:avLst/>
          </a:prstGeom>
        </p:spPr>
        <p:txBody>
          <a:bodyPr/>
          <a:lstStyle>
            <a:lvl1pPr marL="47997" indent="0" algn="l">
              <a:buNone/>
              <a:defRPr sz="1600" b="1" i="0" spc="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5710184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4435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g + Center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="" xmlns:a16="http://schemas.microsoft.com/office/drawing/2014/main" id="{18324D26-4DD3-0B4B-86C5-B6D8CAA6DEB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338661" y="3786182"/>
            <a:ext cx="3789251" cy="1442436"/>
          </a:xfrm>
        </p:spPr>
        <p:txBody>
          <a:bodyPr/>
          <a:lstStyle>
            <a:lvl1pPr>
              <a:buClr>
                <a:schemeClr val="accent3"/>
              </a:buClr>
              <a:defRPr sz="2000" b="0" i="0">
                <a:solidFill>
                  <a:schemeClr val="tx2"/>
                </a:solidFill>
                <a:latin typeface="+mn-lt"/>
              </a:defRPr>
            </a:lvl1pPr>
            <a:lvl2pPr>
              <a:buClr>
                <a:schemeClr val="accent3"/>
              </a:buClr>
              <a:defRPr sz="3200" b="0" i="0">
                <a:latin typeface="+mj-lt"/>
              </a:defRPr>
            </a:lvl2pPr>
            <a:lvl3pPr>
              <a:buClr>
                <a:schemeClr val="accent3"/>
              </a:buClr>
              <a:defRPr sz="2667" b="0" i="0">
                <a:latin typeface="+mj-lt"/>
              </a:defRPr>
            </a:lvl3pPr>
            <a:lvl4pPr>
              <a:buClr>
                <a:schemeClr val="accent2"/>
              </a:buClr>
              <a:defRPr sz="2400" b="0" i="0">
                <a:latin typeface="Work Sans ExtraLight" pitchFamily="2" charset="77"/>
              </a:defRPr>
            </a:lvl4pPr>
            <a:lvl5pPr>
              <a:buClr>
                <a:schemeClr val="accent2"/>
              </a:buClr>
              <a:defRPr sz="2400" b="0" i="0">
                <a:latin typeface="Work Sans ExtraLight" pitchFamily="2" charset="77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noProof="0" dirty="0"/>
              <a:t>Lis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="" xmlns:a16="http://schemas.microsoft.com/office/drawing/2014/main" id="{0E185D17-2BFE-7C4C-AD66-C3A2690D206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560537" y="3786182"/>
            <a:ext cx="3789251" cy="1442436"/>
          </a:xfrm>
        </p:spPr>
        <p:txBody>
          <a:bodyPr/>
          <a:lstStyle>
            <a:lvl1pPr>
              <a:buClr>
                <a:schemeClr val="accent3"/>
              </a:buClr>
              <a:defRPr sz="2000" b="0" i="0">
                <a:solidFill>
                  <a:schemeClr val="tx2"/>
                </a:solidFill>
                <a:latin typeface="+mn-lt"/>
              </a:defRPr>
            </a:lvl1pPr>
            <a:lvl2pPr>
              <a:buClr>
                <a:schemeClr val="accent3"/>
              </a:buClr>
              <a:defRPr sz="3200" b="0" i="0">
                <a:latin typeface="+mj-lt"/>
              </a:defRPr>
            </a:lvl2pPr>
            <a:lvl3pPr>
              <a:buClr>
                <a:schemeClr val="accent3"/>
              </a:buClr>
              <a:defRPr sz="2667" b="0" i="0">
                <a:latin typeface="+mj-lt"/>
              </a:defRPr>
            </a:lvl3pPr>
            <a:lvl4pPr>
              <a:buClr>
                <a:schemeClr val="accent2"/>
              </a:buClr>
              <a:defRPr sz="2400" b="0" i="0">
                <a:latin typeface="Work Sans ExtraLight" pitchFamily="2" charset="77"/>
              </a:defRPr>
            </a:lvl4pPr>
            <a:lvl5pPr>
              <a:buClr>
                <a:schemeClr val="accent2"/>
              </a:buClr>
              <a:defRPr sz="2400" b="0" i="0">
                <a:latin typeface="Work Sans ExtraLight" pitchFamily="2" charset="77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noProof="0"/>
              <a:t>List</a:t>
            </a:r>
          </a:p>
        </p:txBody>
      </p:sp>
      <p:sp>
        <p:nvSpPr>
          <p:cNvPr id="12" name="Titre 1">
            <a:extLst>
              <a:ext uri="{FF2B5EF4-FFF2-40B4-BE49-F238E27FC236}">
                <a16:creationId xmlns="" xmlns:a16="http://schemas.microsoft.com/office/drawing/2014/main" id="{C139A51F-9B91-8F4F-BABD-BE273EAB54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8661" y="1599162"/>
            <a:ext cx="8015138" cy="656591"/>
          </a:xfrm>
        </p:spPr>
        <p:txBody>
          <a:bodyPr/>
          <a:lstStyle>
            <a:lvl1pPr algn="l">
              <a:defRPr sz="4267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fr-FR" dirty="0"/>
          </a:p>
        </p:txBody>
      </p:sp>
      <p:sp>
        <p:nvSpPr>
          <p:cNvPr id="13" name="Espace réservé du texte 5">
            <a:extLst>
              <a:ext uri="{FF2B5EF4-FFF2-40B4-BE49-F238E27FC236}">
                <a16:creationId xmlns="" xmlns:a16="http://schemas.microsoft.com/office/drawing/2014/main" id="{BB7A62D4-424B-D745-BF1D-3B3828C29C5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34649" y="1284733"/>
            <a:ext cx="8015139" cy="235723"/>
          </a:xfrm>
          <a:prstGeom prst="rect">
            <a:avLst/>
          </a:prstGeom>
        </p:spPr>
        <p:txBody>
          <a:bodyPr/>
          <a:lstStyle>
            <a:lvl1pPr marL="47997" indent="0" algn="l">
              <a:buNone/>
              <a:defRPr sz="1600" b="1" i="0" spc="60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="" xmlns:a16="http://schemas.microsoft.com/office/drawing/2014/main" id="{24C520D6-A056-CC48-8480-3281A4C654D6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3338660" y="2514120"/>
            <a:ext cx="8015139" cy="1013695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r>
              <a:rPr lang="en-US"/>
              <a:t>Text</a:t>
            </a:r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="" xmlns:a16="http://schemas.microsoft.com/office/drawing/2014/main" id="{35759D5E-CA2D-9E41-B50C-494774009C38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38202" y="719259"/>
            <a:ext cx="2256102" cy="225421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242249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4">
            <a:extLst>
              <a:ext uri="{FF2B5EF4-FFF2-40B4-BE49-F238E27FC236}">
                <a16:creationId xmlns="" xmlns:a16="http://schemas.microsoft.com/office/drawing/2014/main" id="{9129A72F-B599-AC40-97D9-409DCEA676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509" y="2559033"/>
            <a:ext cx="10515285" cy="375553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  <a:latin typeface="+mn-lt"/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Simple value pitch slid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="" xmlns:a16="http://schemas.microsoft.com/office/drawing/2014/main" id="{0DC507A2-1A52-274F-B36B-9E845726328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3273364"/>
            <a:ext cx="10515599" cy="777641"/>
          </a:xfrm>
        </p:spPr>
        <p:txBody>
          <a:bodyPr/>
          <a:lstStyle>
            <a:lvl1pPr marL="0" indent="0">
              <a:buNone/>
              <a:defRPr sz="600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 dirty="0"/>
              <a:t>Simple. Scalable. Sustainable.</a:t>
            </a:r>
          </a:p>
        </p:txBody>
      </p:sp>
    </p:spTree>
    <p:extLst>
      <p:ext uri="{BB962C8B-B14F-4D97-AF65-F5344CB8AC3E}">
        <p14:creationId xmlns:p14="http://schemas.microsoft.com/office/powerpoint/2010/main" val="20260282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Big Sta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>
            <a:extLst>
              <a:ext uri="{FF2B5EF4-FFF2-40B4-BE49-F238E27FC236}">
                <a16:creationId xmlns="" xmlns:a16="http://schemas.microsoft.com/office/drawing/2014/main" id="{30F79FB6-2218-814D-ABFC-6E563DCC66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412" y="1140237"/>
            <a:ext cx="10515171" cy="656591"/>
          </a:xfrm>
        </p:spPr>
        <p:txBody>
          <a:bodyPr anchor="b"/>
          <a:lstStyle>
            <a:lvl1pPr algn="l">
              <a:defRPr sz="4267" b="0" i="0">
                <a:solidFill>
                  <a:schemeClr val="tx1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en-US" noProof="0" dirty="0"/>
              <a:t>One Big Stat Slide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="" xmlns:a16="http://schemas.microsoft.com/office/drawing/2014/main" id="{31A544C3-4900-844E-B055-82E585FC3A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972734"/>
            <a:ext cx="10515387" cy="2446100"/>
          </a:xfrm>
          <a:prstGeom prst="rect">
            <a:avLst/>
          </a:prstGeom>
        </p:spPr>
        <p:txBody>
          <a:bodyPr/>
          <a:lstStyle>
            <a:lvl1pPr marL="47999" indent="0">
              <a:buNone/>
              <a:defRPr sz="18400" b="0" i="0">
                <a:solidFill>
                  <a:schemeClr val="accent3"/>
                </a:solidFill>
                <a:latin typeface="Calibri Light" panose="020F0302020204030204" pitchFamily="34" charset="0"/>
              </a:defRPr>
            </a:lvl1pPr>
          </a:lstStyle>
          <a:p>
            <a:r>
              <a:rPr lang="fr-FR" dirty="0"/>
              <a:t>12345$</a:t>
            </a:r>
          </a:p>
        </p:txBody>
      </p:sp>
      <p:sp>
        <p:nvSpPr>
          <p:cNvPr id="14" name="Espace réservé du texte 3">
            <a:extLst>
              <a:ext uri="{FF2B5EF4-FFF2-40B4-BE49-F238E27FC236}">
                <a16:creationId xmlns="" xmlns:a16="http://schemas.microsoft.com/office/drawing/2014/main" id="{45777188-902B-2D4B-B39A-5E833495D2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4418834"/>
            <a:ext cx="10515387" cy="458733"/>
          </a:xfrm>
          <a:prstGeom prst="rect">
            <a:avLst/>
          </a:prstGeom>
        </p:spPr>
        <p:txBody>
          <a:bodyPr/>
          <a:lstStyle>
            <a:lvl1pPr marL="47999" indent="0">
              <a:buNone/>
              <a:defRPr sz="2667" b="0" i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fr-FR"/>
              <a:t>*by 2049</a:t>
            </a:r>
          </a:p>
        </p:txBody>
      </p:sp>
    </p:spTree>
    <p:extLst>
      <p:ext uri="{BB962C8B-B14F-4D97-AF65-F5344CB8AC3E}">
        <p14:creationId xmlns:p14="http://schemas.microsoft.com/office/powerpoint/2010/main" val="40177466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Big Sta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contenu 15">
            <a:extLst>
              <a:ext uri="{FF2B5EF4-FFF2-40B4-BE49-F238E27FC236}">
                <a16:creationId xmlns="" xmlns:a16="http://schemas.microsoft.com/office/drawing/2014/main" id="{C56FB3BA-B580-184A-A40E-EBEF50FB13C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542617" y="3036611"/>
            <a:ext cx="4810970" cy="1182157"/>
          </a:xfrm>
          <a:prstGeom prst="rect">
            <a:avLst/>
          </a:prstGeom>
        </p:spPr>
        <p:txBody>
          <a:bodyPr/>
          <a:lstStyle>
            <a:lvl1pPr marL="48680" indent="0">
              <a:buNone/>
              <a:defRPr lang="fr-FR" sz="8000" b="0" i="0" dirty="0">
                <a:solidFill>
                  <a:schemeClr val="accent3"/>
                </a:solidFill>
                <a:latin typeface="+mj-lt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fr-FR"/>
              <a:t>$25 Million</a:t>
            </a:r>
          </a:p>
        </p:txBody>
      </p:sp>
      <p:sp>
        <p:nvSpPr>
          <p:cNvPr id="17" name="Espace réservé du contenu 15">
            <a:extLst>
              <a:ext uri="{FF2B5EF4-FFF2-40B4-BE49-F238E27FC236}">
                <a16:creationId xmlns="" xmlns:a16="http://schemas.microsoft.com/office/drawing/2014/main" id="{31E320E1-0ECE-F440-A30F-C0A5B478FE2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542617" y="4284387"/>
            <a:ext cx="4810970" cy="420157"/>
          </a:xfrm>
          <a:prstGeom prst="rect">
            <a:avLst/>
          </a:prstGeom>
        </p:spPr>
        <p:txBody>
          <a:bodyPr>
            <a:noAutofit/>
          </a:bodyPr>
          <a:lstStyle>
            <a:lvl1pPr marL="48680" indent="0">
              <a:buNone/>
              <a:defRPr lang="fr-FR" sz="2400" b="0" i="0" dirty="0">
                <a:solidFill>
                  <a:schemeClr val="tx1"/>
                </a:solidFill>
                <a:latin typeface="+mn-lt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Data caption</a:t>
            </a:r>
          </a:p>
        </p:txBody>
      </p:sp>
      <p:sp>
        <p:nvSpPr>
          <p:cNvPr id="18" name="Espace réservé du contenu 15">
            <a:extLst>
              <a:ext uri="{FF2B5EF4-FFF2-40B4-BE49-F238E27FC236}">
                <a16:creationId xmlns="" xmlns:a16="http://schemas.microsoft.com/office/drawing/2014/main" id="{44DEFA82-3CEA-8C44-9796-DE6117DAEC6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542617" y="4770161"/>
            <a:ext cx="4810970" cy="212648"/>
          </a:xfrm>
          <a:prstGeom prst="rect">
            <a:avLst/>
          </a:prstGeom>
        </p:spPr>
        <p:txBody>
          <a:bodyPr/>
          <a:lstStyle>
            <a:lvl1pPr marL="48680" indent="0">
              <a:buNone/>
              <a:defRPr lang="fr-FR" sz="1067" b="0" i="0" dirty="0">
                <a:solidFill>
                  <a:schemeClr val="tx2"/>
                </a:solidFill>
                <a:latin typeface="+mn-lt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*Data source</a:t>
            </a:r>
          </a:p>
        </p:txBody>
      </p:sp>
      <p:sp>
        <p:nvSpPr>
          <p:cNvPr id="19" name="Espace réservé du contenu 15">
            <a:extLst>
              <a:ext uri="{FF2B5EF4-FFF2-40B4-BE49-F238E27FC236}">
                <a16:creationId xmlns="" xmlns:a16="http://schemas.microsoft.com/office/drawing/2014/main" id="{26549140-6A2E-9B4E-88C6-E1896625599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413" y="3036611"/>
            <a:ext cx="4810972" cy="1182157"/>
          </a:xfrm>
          <a:prstGeom prst="rect">
            <a:avLst/>
          </a:prstGeom>
        </p:spPr>
        <p:txBody>
          <a:bodyPr/>
          <a:lstStyle>
            <a:lvl1pPr marL="48680" indent="0" algn="l">
              <a:buNone/>
              <a:defRPr lang="fr-FR" sz="8000" b="0" i="0" dirty="0">
                <a:solidFill>
                  <a:schemeClr val="accent3"/>
                </a:solidFill>
                <a:latin typeface="+mj-lt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fr-FR" dirty="0"/>
              <a:t>$25 Million</a:t>
            </a:r>
          </a:p>
        </p:txBody>
      </p:sp>
      <p:sp>
        <p:nvSpPr>
          <p:cNvPr id="20" name="Espace réservé du contenu 15">
            <a:extLst>
              <a:ext uri="{FF2B5EF4-FFF2-40B4-BE49-F238E27FC236}">
                <a16:creationId xmlns="" xmlns:a16="http://schemas.microsoft.com/office/drawing/2014/main" id="{DC47D5FA-D33C-4149-B032-A61BDAB42C1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38413" y="4284387"/>
            <a:ext cx="4810972" cy="420157"/>
          </a:xfrm>
          <a:prstGeom prst="rect">
            <a:avLst/>
          </a:prstGeom>
        </p:spPr>
        <p:txBody>
          <a:bodyPr>
            <a:noAutofit/>
          </a:bodyPr>
          <a:lstStyle>
            <a:lvl1pPr marL="48680" indent="0" algn="l">
              <a:buNone/>
              <a:defRPr lang="fr-FR" sz="2400" b="0" i="0" dirty="0">
                <a:solidFill>
                  <a:schemeClr val="tx1"/>
                </a:solidFill>
                <a:latin typeface="+mn-lt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Data caption</a:t>
            </a:r>
          </a:p>
        </p:txBody>
      </p:sp>
      <p:sp>
        <p:nvSpPr>
          <p:cNvPr id="21" name="Espace réservé du contenu 15">
            <a:extLst>
              <a:ext uri="{FF2B5EF4-FFF2-40B4-BE49-F238E27FC236}">
                <a16:creationId xmlns="" xmlns:a16="http://schemas.microsoft.com/office/drawing/2014/main" id="{4D0438FE-E8C7-814C-9450-AAB61249695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38413" y="4770161"/>
            <a:ext cx="4810972" cy="212648"/>
          </a:xfrm>
          <a:prstGeom prst="rect">
            <a:avLst/>
          </a:prstGeom>
        </p:spPr>
        <p:txBody>
          <a:bodyPr/>
          <a:lstStyle>
            <a:lvl1pPr marL="48680" indent="0" algn="l">
              <a:buNone/>
              <a:defRPr lang="fr-FR" sz="1067" b="0" i="0" dirty="0">
                <a:solidFill>
                  <a:schemeClr val="tx2"/>
                </a:solidFill>
                <a:latin typeface="+mn-lt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*Data source</a:t>
            </a:r>
          </a:p>
        </p:txBody>
      </p:sp>
      <p:cxnSp>
        <p:nvCxnSpPr>
          <p:cNvPr id="14" name="Connecteur droit 13">
            <a:extLst>
              <a:ext uri="{FF2B5EF4-FFF2-40B4-BE49-F238E27FC236}">
                <a16:creationId xmlns="" xmlns:a16="http://schemas.microsoft.com/office/drawing/2014/main" id="{94299E5B-4017-634A-9B17-59827EF2714B}"/>
              </a:ext>
            </a:extLst>
          </p:cNvPr>
          <p:cNvCxnSpPr>
            <a:cxnSpLocks/>
          </p:cNvCxnSpPr>
          <p:nvPr/>
        </p:nvCxnSpPr>
        <p:spPr bwMode="auto">
          <a:xfrm>
            <a:off x="6096000" y="3040796"/>
            <a:ext cx="0" cy="1998768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Titre 1">
            <a:extLst>
              <a:ext uri="{FF2B5EF4-FFF2-40B4-BE49-F238E27FC236}">
                <a16:creationId xmlns="" xmlns:a16="http://schemas.microsoft.com/office/drawing/2014/main" id="{B7056516-958E-B444-9D9C-BF0CCBD62B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413" y="1759543"/>
            <a:ext cx="10515169" cy="656591"/>
          </a:xfrm>
        </p:spPr>
        <p:txBody>
          <a:bodyPr anchor="b">
            <a:noAutofit/>
          </a:bodyPr>
          <a:lstStyle>
            <a:lvl1pPr algn="l">
              <a:defRPr sz="4267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/>
              <a:t>2 Big Stats Slide</a:t>
            </a:r>
          </a:p>
        </p:txBody>
      </p:sp>
      <p:sp>
        <p:nvSpPr>
          <p:cNvPr id="28" name="Espace réservé du texte 5">
            <a:extLst>
              <a:ext uri="{FF2B5EF4-FFF2-40B4-BE49-F238E27FC236}">
                <a16:creationId xmlns="" xmlns:a16="http://schemas.microsoft.com/office/drawing/2014/main" id="{6962CEE5-4D3F-BA49-8AB9-4B8010251F7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413" y="1438691"/>
            <a:ext cx="10515169" cy="255233"/>
          </a:xfrm>
          <a:prstGeom prst="rect">
            <a:avLst/>
          </a:prstGeom>
        </p:spPr>
        <p:txBody>
          <a:bodyPr/>
          <a:lstStyle>
            <a:lvl1pPr marL="47997" indent="0" algn="l">
              <a:buNone/>
              <a:defRPr sz="1600" b="1" i="0" spc="6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3381207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06CE4CB2-6030-4872-8362-B29091CE4B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006743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06CE4CB2-6030-4872-8362-B29091CE4B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7" name="ZoneTexte 6">
            <a:extLst>
              <a:ext uri="{FF2B5EF4-FFF2-40B4-BE49-F238E27FC236}">
                <a16:creationId xmlns="" xmlns:a16="http://schemas.microsoft.com/office/drawing/2014/main" id="{4BE67890-FE51-E847-8952-68D2C551D6FA}"/>
              </a:ext>
            </a:extLst>
          </p:cNvPr>
          <p:cNvSpPr txBox="1"/>
          <p:nvPr userDrawn="1"/>
        </p:nvSpPr>
        <p:spPr>
          <a:xfrm>
            <a:off x="125586" y="6570324"/>
            <a:ext cx="1964471" cy="194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667" b="0" i="0" noProof="0" dirty="0">
                <a:solidFill>
                  <a:schemeClr val="bg1">
                    <a:lumMod val="50000"/>
                  </a:schemeClr>
                </a:solidFill>
                <a:latin typeface="+mj-lt"/>
                <a:ea typeface="Helvetica Light" charset="0"/>
                <a:cs typeface="Calibri Light" panose="020F0302020204030204" pitchFamily="34" charset="0"/>
              </a:rPr>
              <a:t>© 2025 NAGRAVISION  SARL – All rights reserved</a:t>
            </a:r>
          </a:p>
        </p:txBody>
      </p:sp>
      <p:sp>
        <p:nvSpPr>
          <p:cNvPr id="8" name="Text Box 8">
            <a:extLst>
              <a:ext uri="{FF2B5EF4-FFF2-40B4-BE49-F238E27FC236}">
                <a16:creationId xmlns="" xmlns:a16="http://schemas.microsoft.com/office/drawing/2014/main" id="{EC0620C6-5663-3343-A8FD-A4C1D6C90A9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726547" y="6560193"/>
            <a:ext cx="738909" cy="205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>
            <a:lvl1pPr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defRPr/>
            </a:pPr>
            <a:fld id="{44310CFE-D6FA-D144-A001-7C53F4DCA0BC}" type="slidenum">
              <a:rPr lang="en-GB" sz="1333" b="0" i="0" noProof="0" smtClean="0">
                <a:solidFill>
                  <a:schemeClr val="bg1">
                    <a:lumMod val="50000"/>
                  </a:schemeClr>
                </a:solidFill>
                <a:latin typeface="+mj-lt"/>
                <a:ea typeface="Helvetica Light" charset="0"/>
                <a:cs typeface="Calibri Light" panose="020F0302020204030204" pitchFamily="34" charset="0"/>
              </a:rPr>
              <a:t>‹#›</a:t>
            </a:fld>
            <a:endParaRPr lang="en-GB" sz="1333" b="0" i="0" noProof="0">
              <a:solidFill>
                <a:schemeClr val="bg1">
                  <a:lumMod val="50000"/>
                </a:schemeClr>
              </a:solidFill>
              <a:latin typeface="+mj-lt"/>
              <a:ea typeface="Helvetica Light" charset="0"/>
              <a:cs typeface="Calibri Light" panose="020F0302020204030204" pitchFamily="34" charset="0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="" xmlns:a16="http://schemas.microsoft.com/office/drawing/2014/main" id="{A1587486-20EA-6B45-81A6-880D19F77E75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11284914" y="6400800"/>
            <a:ext cx="779030" cy="333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254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61" r:id="rId2"/>
    <p:sldLayoutId id="2147483663" r:id="rId3"/>
    <p:sldLayoutId id="2147483662" r:id="rId4"/>
    <p:sldLayoutId id="2147483718" r:id="rId5"/>
    <p:sldLayoutId id="2147483716" r:id="rId6"/>
    <p:sldLayoutId id="2147483668" r:id="rId7"/>
    <p:sldLayoutId id="2147483680" r:id="rId8"/>
    <p:sldLayoutId id="2147483667" r:id="rId9"/>
    <p:sldLayoutId id="2147483669" r:id="rId10"/>
    <p:sldLayoutId id="2147483714" r:id="rId11"/>
    <p:sldLayoutId id="2147483715" r:id="rId12"/>
    <p:sldLayoutId id="2147483719" r:id="rId13"/>
    <p:sldLayoutId id="2147483717" r:id="rId14"/>
    <p:sldLayoutId id="2147483682" r:id="rId15"/>
    <p:sldLayoutId id="2147483683" r:id="rId16"/>
    <p:sldLayoutId id="2147483684" r:id="rId17"/>
  </p:sldLayoutIdLst>
  <p:hf sldNum="0"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rgbClr val="494949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rgbClr val="494949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rgbClr val="494949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rgbClr val="494949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rgbClr val="494949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rgbClr val="494949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7.png"/><Relationship Id="rId5" Type="http://schemas.openxmlformats.org/officeDocument/2006/relationships/hyperlink" Target="https://iacr.org/archive/ches2004/31560016/31560016.pdf" TargetMode="External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eprint.iacr.org/2014/332.pdf" TargetMode="External"/><Relationship Id="rId5" Type="http://schemas.openxmlformats.org/officeDocument/2006/relationships/hyperlink" Target="https://link.springer.com/content/pdf/10.1007/3-540-36400-5_3.pdf" TargetMode="External"/><Relationship Id="rId4" Type="http://schemas.openxmlformats.org/officeDocument/2006/relationships/image" Target="../media/image17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csrc.nist.gov/csrc/media/events/non-invasive-attack-testing-workshop/documents/08_goodwill.pdf" TargetMode="External"/><Relationship Id="rId5" Type="http://schemas.openxmlformats.org/officeDocument/2006/relationships/hyperlink" Target="https://link.springer.com/content/pdf/10.1007/978-3-642-34961-4_44.pdf" TargetMode="External"/><Relationship Id="rId4" Type="http://schemas.openxmlformats.org/officeDocument/2006/relationships/hyperlink" Target="https://link.springer.com/content/pdf/10.1007/3-540-48059-5_15.pdf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eprint.iacr.org/2021/592.pdf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ieeexplore.ieee.org/document/6472489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eprint.iacr.org/2014/332.pdf" TargetMode="External"/><Relationship Id="rId4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eprint.iacr.org/2014/332.pdf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png"/><Relationship Id="rId4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image" Target="../media/image66.png"/><Relationship Id="rId7" Type="http://schemas.openxmlformats.org/officeDocument/2006/relationships/image" Target="../media/image70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67.png"/><Relationship Id="rId9" Type="http://schemas.openxmlformats.org/officeDocument/2006/relationships/image" Target="../media/image7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0.png"/><Relationship Id="rId2" Type="http://schemas.openxmlformats.org/officeDocument/2006/relationships/image" Target="../media/image56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7" Type="http://schemas.openxmlformats.org/officeDocument/2006/relationships/image" Target="../media/image64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eprint.iacr.org/2011/405.pdf" TargetMode="External"/><Relationship Id="rId4" Type="http://schemas.openxmlformats.org/officeDocument/2006/relationships/hyperlink" Target="https://www.cs.cmu.edu/~odonnell/hits09/gentry-homomorphic-encryption.pdf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0.png"/><Relationship Id="rId18" Type="http://schemas.openxmlformats.org/officeDocument/2006/relationships/image" Target="../media/image23.png"/><Relationship Id="rId26" Type="http://schemas.openxmlformats.org/officeDocument/2006/relationships/image" Target="../media/image40.png"/><Relationship Id="rId3" Type="http://schemas.openxmlformats.org/officeDocument/2006/relationships/image" Target="../media/image7.png"/><Relationship Id="rId21" Type="http://schemas.openxmlformats.org/officeDocument/2006/relationships/image" Target="../media/image35.png"/><Relationship Id="rId7" Type="http://schemas.openxmlformats.org/officeDocument/2006/relationships/image" Target="../media/image260.png"/><Relationship Id="rId12" Type="http://schemas.openxmlformats.org/officeDocument/2006/relationships/image" Target="../media/image29.png"/><Relationship Id="rId17" Type="http://schemas.openxmlformats.org/officeDocument/2006/relationships/image" Target="../media/image22.png"/><Relationship Id="rId25" Type="http://schemas.openxmlformats.org/officeDocument/2006/relationships/image" Target="../media/image39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2.png"/><Relationship Id="rId20" Type="http://schemas.openxmlformats.org/officeDocument/2006/relationships/image" Target="../media/image3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.svg"/><Relationship Id="rId11" Type="http://schemas.openxmlformats.org/officeDocument/2006/relationships/image" Target="../media/image21.png"/><Relationship Id="rId24" Type="http://schemas.openxmlformats.org/officeDocument/2006/relationships/image" Target="../media/image38.png"/><Relationship Id="rId5" Type="http://schemas.openxmlformats.org/officeDocument/2006/relationships/image" Target="../media/image8.png"/><Relationship Id="rId15" Type="http://schemas.openxmlformats.org/officeDocument/2006/relationships/image" Target="../media/image14.png"/><Relationship Id="rId23" Type="http://schemas.openxmlformats.org/officeDocument/2006/relationships/image" Target="../media/image37.png"/><Relationship Id="rId10" Type="http://schemas.openxmlformats.org/officeDocument/2006/relationships/image" Target="../media/image28.png"/><Relationship Id="rId19" Type="http://schemas.openxmlformats.org/officeDocument/2006/relationships/image" Target="../media/image33.png"/><Relationship Id="rId4" Type="http://schemas.openxmlformats.org/officeDocument/2006/relationships/image" Target="../media/image11.svg"/><Relationship Id="rId9" Type="http://schemas.openxmlformats.org/officeDocument/2006/relationships/image" Target="../media/image20.png"/><Relationship Id="rId14" Type="http://schemas.openxmlformats.org/officeDocument/2006/relationships/image" Target="../media/image31.png"/><Relationship Id="rId22" Type="http://schemas.openxmlformats.org/officeDocument/2006/relationships/image" Target="../media/image36.png"/><Relationship Id="rId27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eprint.iacr.org/2023/1895.pdf" TargetMode="Externa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3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../clipboard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png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5" Type="http://schemas.openxmlformats.org/officeDocument/2006/relationships/hyperlink" Target="https://iacr.org/archive/ches2004/31560016/31560016.pdf" TargetMode="Externa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FCF8AECB-316C-4A01-9298-730031F0C0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2" name="think-cell Slide" r:id="rId6" imgW="300" imgH="297" progId="TCLayout.ActiveDocument.1">
                  <p:embed/>
                </p:oleObj>
              </mc:Choice>
              <mc:Fallback>
                <p:oleObj name="think-cell Slide" r:id="rId6" imgW="300" imgH="297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FCF8AECB-316C-4A01-9298-730031F0C0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D17450AB-BF87-477C-9B66-86D69FC0C2E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200" dirty="0">
              <a:solidFill>
                <a:srgbClr val="000000"/>
              </a:solidFill>
              <a:latin typeface="Calibri Light" panose="020F0302020204030204" pitchFamily="34" charset="0"/>
              <a:ea typeface="ＭＳ Ｐゴシック" charset="-128"/>
              <a:cs typeface="ＭＳ Ｐゴシック" charset="-128"/>
              <a:sym typeface="Work Sans ExtraLight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="" xmlns:a16="http://schemas.microsoft.com/office/drawing/2014/main" id="{1D93C51C-C951-004C-95C5-ED97CC34E4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714" y="4741568"/>
            <a:ext cx="4465672" cy="194551"/>
          </a:xfrm>
        </p:spPr>
        <p:txBody>
          <a:bodyPr/>
          <a:lstStyle/>
          <a:p>
            <a:fld id="{F7DD3976-F02E-4A55-8187-2EA6719A8D61}" type="datetime1">
              <a:rPr lang="en-GB" smtClean="0"/>
              <a:t>03/04/2025</a:t>
            </a:fld>
            <a:endParaRPr lang="en-US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="" xmlns:a16="http://schemas.microsoft.com/office/drawing/2014/main" id="{58920B15-BB05-614E-A372-4349EA8BE1A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9928" y="5027559"/>
            <a:ext cx="11197709" cy="602655"/>
          </a:xfrm>
        </p:spPr>
        <p:txBody>
          <a:bodyPr/>
          <a:lstStyle/>
          <a:p>
            <a:r>
              <a:rPr lang="en-GB" sz="3200" dirty="0"/>
              <a:t>Hybrid </a:t>
            </a:r>
            <a:r>
              <a:rPr lang="en-GB" sz="3200" dirty="0" err="1" smtClean="0"/>
              <a:t>Homomorphic</a:t>
            </a:r>
            <a:r>
              <a:rPr lang="en-GB" sz="3200" dirty="0" smtClean="0"/>
              <a:t> </a:t>
            </a:r>
            <a:r>
              <a:rPr lang="en-GB" sz="3200" dirty="0"/>
              <a:t>E</a:t>
            </a:r>
            <a:r>
              <a:rPr lang="en-GB" sz="3200" dirty="0" smtClean="0"/>
              <a:t>ncryption Resistance </a:t>
            </a:r>
            <a:r>
              <a:rPr lang="en-GB" sz="3200" dirty="0"/>
              <a:t>to </a:t>
            </a:r>
            <a:r>
              <a:rPr lang="en-GB" sz="3200" dirty="0" smtClean="0"/>
              <a:t>Side-channel Attacks</a:t>
            </a:r>
            <a:endParaRPr lang="en-US" sz="3200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="" xmlns:a16="http://schemas.microsoft.com/office/drawing/2014/main" id="{87BD1B43-B69D-A64A-89E1-BF6D0B409D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ierugo Pace </a:t>
            </a:r>
            <a:r>
              <a:rPr lang="en-US" dirty="0" smtClean="0"/>
              <a:t>(NAGRA </a:t>
            </a:r>
            <a:r>
              <a:rPr lang="en-US" dirty="0" err="1" smtClean="0"/>
              <a:t>Kudelski</a:t>
            </a:r>
            <a:r>
              <a:rPr lang="en-US" dirty="0" smtClean="0"/>
              <a:t> Group / EPFL), </a:t>
            </a:r>
            <a:r>
              <a:rPr lang="en-US" dirty="0" err="1" smtClean="0"/>
              <a:t>Hervé</a:t>
            </a:r>
            <a:r>
              <a:rPr lang="en-US" dirty="0" smtClean="0"/>
              <a:t> </a:t>
            </a:r>
            <a:r>
              <a:rPr lang="en-US" dirty="0"/>
              <a:t>Pelletier (NAGRA Kudelski Group</a:t>
            </a:r>
            <a:r>
              <a:rPr lang="en-US" dirty="0" smtClean="0"/>
              <a:t>), Serge </a:t>
            </a:r>
            <a:r>
              <a:rPr lang="en-US" dirty="0" err="1" smtClean="0"/>
              <a:t>Vaudenay</a:t>
            </a:r>
            <a:r>
              <a:rPr lang="en-US" dirty="0" smtClean="0"/>
              <a:t> (EPFL)</a:t>
            </a:r>
            <a:endParaRPr lang="en-US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="" xmlns:a16="http://schemas.microsoft.com/office/drawing/2014/main" id="{8760C561-556E-134C-884E-6632400CFD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CASCADE Conferen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5791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25"/>
    </mc:Choice>
    <mc:Fallback xmlns="">
      <p:transition spd="slow" advTm="1525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="" xmlns:a16="http://schemas.microsoft.com/office/drawing/2014/main" id="{950C71FA-31D6-E24E-82F0-93559BE56F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3702" y="733007"/>
            <a:ext cx="5461698" cy="427578"/>
          </a:xfrm>
        </p:spPr>
        <p:txBody>
          <a:bodyPr/>
          <a:lstStyle/>
          <a:p>
            <a:r>
              <a:rPr lang="en-US" sz="2800" dirty="0"/>
              <a:t>Correlation Power Analysis [4]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5493701" y="487599"/>
            <a:ext cx="5460998" cy="198783"/>
          </a:xfrm>
        </p:spPr>
        <p:txBody>
          <a:bodyPr/>
          <a:lstStyle/>
          <a:p>
            <a:r>
              <a:rPr lang="en-US" dirty="0">
                <a:solidFill>
                  <a:schemeClr val="accent3"/>
                </a:solidFill>
              </a:rPr>
              <a:t>ATTACK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="" xmlns:a16="http://schemas.microsoft.com/office/drawing/2014/main" id="{56D493A6-F826-2EC9-14A3-5C1E757C50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999" y="516701"/>
            <a:ext cx="4326843" cy="5824597"/>
          </a:xfrm>
          <a:prstGeom prst="rect">
            <a:avLst/>
          </a:prstGeom>
        </p:spPr>
      </p:pic>
      <p:sp>
        <p:nvSpPr>
          <p:cNvPr id="31" name="Oval 30">
            <a:extLst>
              <a:ext uri="{FF2B5EF4-FFF2-40B4-BE49-F238E27FC236}">
                <a16:creationId xmlns="" xmlns:a16="http://schemas.microsoft.com/office/drawing/2014/main" id="{BCDC990E-B36C-ADEB-5D84-64BE6A1D91B8}"/>
              </a:ext>
            </a:extLst>
          </p:cNvPr>
          <p:cNvSpPr/>
          <p:nvPr/>
        </p:nvSpPr>
        <p:spPr>
          <a:xfrm>
            <a:off x="838198" y="1942291"/>
            <a:ext cx="1516668" cy="32378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D44E9C65-9F4E-28D0-CC6D-4F56B1FB3585}"/>
              </a:ext>
            </a:extLst>
          </p:cNvPr>
          <p:cNvSpPr txBox="1"/>
          <p:nvPr/>
        </p:nvSpPr>
        <p:spPr>
          <a:xfrm>
            <a:off x="6281225" y="277836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CH" dirty="0"/>
          </a:p>
        </p:txBody>
      </p:sp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E0AC091D-FE97-F966-F7CF-46C81C0B6762}"/>
              </a:ext>
            </a:extLst>
          </p:cNvPr>
          <p:cNvGrpSpPr/>
          <p:nvPr/>
        </p:nvGrpSpPr>
        <p:grpSpPr>
          <a:xfrm>
            <a:off x="9782823" y="153734"/>
            <a:ext cx="2305873" cy="1990960"/>
            <a:chOff x="9662253" y="149092"/>
            <a:chExt cx="2305873" cy="1990960"/>
          </a:xfrm>
        </p:grpSpPr>
        <p:pic>
          <p:nvPicPr>
            <p:cNvPr id="3" name="Picture 2">
              <a:extLst>
                <a:ext uri="{FF2B5EF4-FFF2-40B4-BE49-F238E27FC236}">
                  <a16:creationId xmlns="" xmlns:a16="http://schemas.microsoft.com/office/drawing/2014/main" id="{826E8D19-161C-D503-824C-C9D999216F8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662253" y="149092"/>
              <a:ext cx="2305873" cy="1990960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="" xmlns:a16="http://schemas.microsoft.com/office/drawing/2014/main" id="{F35F4F18-BD98-231D-D823-AD8CB007B08C}"/>
                </a:ext>
              </a:extLst>
            </p:cNvPr>
            <p:cNvSpPr/>
            <p:nvPr/>
          </p:nvSpPr>
          <p:spPr>
            <a:xfrm>
              <a:off x="10369389" y="1304297"/>
              <a:ext cx="919041" cy="375972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</p:grp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98680C84-5810-BB93-72E2-5400547B3F4E}"/>
              </a:ext>
            </a:extLst>
          </p:cNvPr>
          <p:cNvSpPr txBox="1"/>
          <p:nvPr/>
        </p:nvSpPr>
        <p:spPr>
          <a:xfrm>
            <a:off x="838198" y="6324784"/>
            <a:ext cx="35016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/>
                </a:solidFill>
              </a:rPr>
              <a:t>[4] </a:t>
            </a:r>
            <a:r>
              <a:rPr lang="en-US" sz="1000" dirty="0">
                <a:solidFill>
                  <a:schemeClr val="tx2"/>
                </a:solidFill>
                <a:hlinkClick r:id="rId5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s://iacr.org/archive/ches2004/31560016/31560016.pdf</a:t>
            </a:r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12" name="Picture 11" descr="A graph with a blue line&#10;&#10;Description automatically generated">
            <a:extLst>
              <a:ext uri="{FF2B5EF4-FFF2-40B4-BE49-F238E27FC236}">
                <a16:creationId xmlns:a16="http://schemas.microsoft.com/office/drawing/2014/main" xmlns="" id="{94DF9534-2D04-6F30-1EF1-077CB43E85C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55322" y="2272050"/>
            <a:ext cx="5400675" cy="417195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4CC53BB2-2C94-FD99-052A-C1C61A85BAD0}"/>
              </a:ext>
            </a:extLst>
          </p:cNvPr>
          <p:cNvSpPr txBox="1"/>
          <p:nvPr/>
        </p:nvSpPr>
        <p:spPr>
          <a:xfrm>
            <a:off x="5720446" y="1883084"/>
            <a:ext cx="394180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CH" sz="1400" dirty="0"/>
              <a:t>M</a:t>
            </a:r>
            <a:r>
              <a:rPr lang="en-CH" sz="1400" dirty="0"/>
              <a:t>aximum correlation factor across the entire trace</a:t>
            </a:r>
            <a:r>
              <a:rPr lang="en-CH" sz="1400" dirty="0" smtClean="0"/>
              <a:t>.</a:t>
            </a:r>
            <a:endParaRPr lang="en-GB" sz="1400" dirty="0" smtClean="0"/>
          </a:p>
          <a:p>
            <a:pPr algn="ctr"/>
            <a:r>
              <a:rPr lang="en-GB" sz="1400" dirty="0" smtClean="0"/>
              <a:t>Real key element is 1.</a:t>
            </a:r>
            <a:endParaRPr lang="en-CH" sz="140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xmlns="" id="{4867F2FB-33E7-99C9-CDDA-BE510B447278}"/>
                  </a:ext>
                </a:extLst>
              </p:cNvPr>
              <p:cNvSpPr txBox="1"/>
              <p:nvPr/>
            </p:nvSpPr>
            <p:spPr>
              <a:xfrm>
                <a:off x="6326943" y="4666609"/>
                <a:ext cx="3647089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fr-CH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CH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fr-CH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</m:sSub>
                      <m:d>
                        <m:dPr>
                          <m:ctrlPr>
                            <a:rPr lang="fr-CH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r-CH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fr-CH" b="0" i="1" smtClean="0">
                              <a:latin typeface="Cambria Math" panose="02040503050406030204" pitchFamily="18" charset="0"/>
                            </a:rPr>
                            <m:t>+8 </m:t>
                          </m:r>
                          <m:r>
                            <a:rPr lang="fr-CH" b="0" i="1" smtClean="0">
                              <a:latin typeface="Cambria Math" panose="02040503050406030204" pitchFamily="18" charset="0"/>
                            </a:rPr>
                            <m:t>𝑚𝑜𝑑</m:t>
                          </m:r>
                          <m:r>
                            <a:rPr lang="fr-CH" b="0" i="1" smtClean="0">
                              <a:latin typeface="Cambria Math" panose="02040503050406030204" pitchFamily="18" charset="0"/>
                            </a:rPr>
                            <m:t> 16</m:t>
                          </m:r>
                        </m:e>
                      </m:d>
                      <m:r>
                        <a:rPr lang="fr-CH" b="0" i="1" smtClean="0">
                          <a:latin typeface="Cambria Math" panose="02040503050406030204" pitchFamily="18" charset="0"/>
                        </a:rPr>
                        <m:t>=−</m:t>
                      </m:r>
                      <m:sSub>
                        <m:sSubPr>
                          <m:ctrlPr>
                            <a:rPr lang="fr-CH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CH" b="0" i="1" smtClean="0"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fr-CH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</m:sSub>
                      <m:d>
                        <m:dPr>
                          <m:ctrlPr>
                            <a:rPr lang="fr-CH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r-CH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</m:d>
                      <m:r>
                        <a:rPr lang="fr-CH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r-CH" b="0" i="1" smtClean="0">
                          <a:latin typeface="Cambria Math" panose="02040503050406030204" pitchFamily="18" charset="0"/>
                        </a:rPr>
                        <m:t>𝑚𝑜𝑑</m:t>
                      </m:r>
                      <m:r>
                        <a:rPr lang="fr-CH" b="0" i="1" smtClean="0">
                          <a:latin typeface="Cambria Math" panose="02040503050406030204" pitchFamily="18" charset="0"/>
                        </a:rPr>
                        <m:t> 16</m:t>
                      </m:r>
                    </m:oMath>
                  </m:oMathPara>
                </a14:m>
                <a:endParaRPr lang="en-CH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4867F2FB-33E7-99C9-CDDA-BE510B44727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26943" y="4666609"/>
                <a:ext cx="3647089" cy="276999"/>
              </a:xfrm>
              <a:prstGeom prst="rect">
                <a:avLst/>
              </a:prstGeom>
              <a:blipFill>
                <a:blip r:embed="rId7"/>
                <a:stretch>
                  <a:fillRect l="-1171" r="-1003" b="-15556"/>
                </a:stretch>
              </a:blipFill>
            </p:spPr>
            <p:txBody>
              <a:bodyPr/>
              <a:lstStyle/>
              <a:p>
                <a:r>
                  <a:rPr lang="en-CH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887779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1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="" xmlns:a16="http://schemas.microsoft.com/office/drawing/2014/main" id="{950C71FA-31D6-E24E-82F0-93559BE56F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65863"/>
            <a:ext cx="9473418" cy="656591"/>
          </a:xfrm>
        </p:spPr>
        <p:txBody>
          <a:bodyPr/>
          <a:lstStyle/>
          <a:p>
            <a:r>
              <a:rPr lang="en-US" dirty="0"/>
              <a:t>Templates (Multivariate Gaussian) [5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EC1D3909-932D-1C4E-9F8F-1E77B13BBB3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dirty="0">
                <a:solidFill>
                  <a:schemeClr val="accent3"/>
                </a:solidFill>
              </a:rPr>
              <a:t>PROFILING ATTACK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="" xmlns:a16="http://schemas.microsoft.com/office/drawing/2014/main" id="{244BCE46-F42D-B6BC-53F0-16D1213F3DB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26338" y="4431600"/>
          <a:ext cx="10526785" cy="1220448"/>
        </p:xfrm>
        <a:graphic>
          <a:graphicData uri="http://schemas.openxmlformats.org/drawingml/2006/table">
            <a:tbl>
              <a:tblPr>
                <a:tableStyleId>{F5AB1C69-6EDB-4FF4-983F-18BD219EF322}</a:tableStyleId>
              </a:tblPr>
              <a:tblGrid>
                <a:gridCol w="214787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4787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14787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09259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99058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434021">
                <a:tc>
                  <a:txBody>
                    <a:bodyPr/>
                    <a:lstStyle/>
                    <a:p>
                      <a:pPr algn="ctr"/>
                      <a:r>
                        <a:rPr lang="en-US" sz="2800" baseline="-25000" dirty="0">
                          <a:solidFill>
                            <a:schemeClr val="tx2"/>
                          </a:solidFill>
                        </a:rPr>
                        <a:t>Train size   </a:t>
                      </a:r>
                      <a:r>
                        <a:rPr lang="en-US" sz="2800" baseline="30000" dirty="0">
                          <a:solidFill>
                            <a:schemeClr val="tx2"/>
                          </a:solidFill>
                        </a:rPr>
                        <a:t>Test size</a:t>
                      </a:r>
                      <a:endParaRPr lang="en-US" sz="2000" baseline="300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5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75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1 5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2 5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20667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60</a:t>
                      </a:r>
                      <a:r>
                        <a:rPr lang="en-US" baseline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94.84 ± 1.96%</a:t>
                      </a:r>
                      <a:endParaRPr lang="en-US" baseline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98.12 ± 1.22%</a:t>
                      </a:r>
                      <a:endParaRPr lang="en-US" baseline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99.92 ± 0.10%</a:t>
                      </a:r>
                      <a:endParaRPr lang="en-US" baseline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100.00 ± 0.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0187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100</a:t>
                      </a:r>
                      <a:r>
                        <a:rPr lang="en-US" baseline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98.01 ± 1.04%</a:t>
                      </a:r>
                      <a:endParaRPr lang="en-US" baseline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99.53 ± 0.40%</a:t>
                      </a:r>
                      <a:endParaRPr lang="en-US" baseline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100.00 ± 0.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100.00 ± 0.0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598F5691-D20E-A4F3-6139-093F33792552}"/>
              </a:ext>
            </a:extLst>
          </p:cNvPr>
          <p:cNvSpPr txBox="1"/>
          <p:nvPr/>
        </p:nvSpPr>
        <p:spPr>
          <a:xfrm>
            <a:off x="1927149" y="5691600"/>
            <a:ext cx="83251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tx2"/>
                </a:solidFill>
              </a:rPr>
              <a:t>Templates key recovery rate (5-fold validated) for </a:t>
            </a:r>
            <a:r>
              <a:rPr lang="en-US" dirty="0">
                <a:solidFill>
                  <a:schemeClr val="tx2"/>
                </a:solidFill>
              </a:rPr>
              <a:t>different profiling and extraction </a:t>
            </a:r>
            <a:r>
              <a:rPr lang="en-US" dirty="0" smtClean="0">
                <a:solidFill>
                  <a:schemeClr val="tx2"/>
                </a:solidFill>
              </a:rPr>
              <a:t>sizes</a:t>
            </a:r>
            <a:endParaRPr lang="en-US" dirty="0">
              <a:solidFill>
                <a:schemeClr val="tx2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1F2E3513-E83D-3CFC-6441-4F9D9840D5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62253" y="149092"/>
            <a:ext cx="2305873" cy="199096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 Placeholder 2">
                <a:extLst>
                  <a:ext uri="{FF2B5EF4-FFF2-40B4-BE49-F238E27FC236}">
                    <a16:creationId xmlns="" xmlns:a16="http://schemas.microsoft.com/office/drawing/2014/main" id="{8DC4B8A9-87F5-3C46-8C8C-5B396166EEC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38197" y="2140052"/>
                <a:ext cx="10515600" cy="1989957"/>
              </a:xfrm>
              <a:prstGeom prst="rect">
                <a:avLst/>
              </a:prstGeom>
            </p:spPr>
            <p:txBody>
              <a:bodyPr vert="horz" lIns="0" tIns="0" rIns="0" bIns="0" rtlCol="0" anchor="t" anchorCtr="0">
                <a:noAutofit/>
              </a:bodyPr>
              <a:lstStyle>
                <a:lvl1pPr marL="228594" indent="-228594" algn="l" defTabSz="914377" rtl="0" eaLnBrk="1" latinLnBrk="0" hangingPunct="1">
                  <a:lnSpc>
                    <a:spcPct val="90000"/>
                  </a:lnSpc>
                  <a:spcBef>
                    <a:spcPts val="1000"/>
                  </a:spcBef>
                  <a:buClr>
                    <a:schemeClr val="accent3"/>
                  </a:buClr>
                  <a:buFont typeface="Arial" panose="020B0604020202020204" pitchFamily="34" charset="0"/>
                  <a:buChar char="•"/>
                  <a:defRPr sz="2800" b="0" i="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685783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3"/>
                  </a:buClr>
                  <a:buFont typeface="Arial" panose="020B0604020202020204" pitchFamily="34" charset="0"/>
                  <a:buChar char="•"/>
                  <a:defRPr sz="2000" b="0" i="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1142971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Clr>
                    <a:schemeClr val="accent3"/>
                  </a:buClr>
                  <a:buFont typeface="Arial" panose="020B0604020202020204" pitchFamily="34" charset="0"/>
                  <a:buChar char="•"/>
                  <a:defRPr sz="1600" b="0" i="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1600160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67" b="0" i="0" kern="1200">
                    <a:solidFill>
                      <a:srgbClr val="494949"/>
                    </a:solidFill>
                    <a:latin typeface="+mn-lt"/>
                    <a:ea typeface="+mn-ea"/>
                    <a:cs typeface="+mn-cs"/>
                  </a:defRPr>
                </a:lvl4pPr>
                <a:lvl5pPr marL="2057349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b="0" i="0" kern="1200">
                    <a:solidFill>
                      <a:srgbClr val="494949"/>
                    </a:solidFill>
                    <a:latin typeface="+mn-lt"/>
                    <a:ea typeface="+mn-ea"/>
                    <a:cs typeface="+mn-cs"/>
                  </a:defRPr>
                </a:lvl5pPr>
                <a:lvl6pPr marL="2514537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726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8914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103" indent="-228594" algn="l" defTabSz="914377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just"/>
                <a14:m>
                  <m:oMath xmlns:m="http://schemas.openxmlformats.org/officeDocument/2006/math">
                    <m:r>
                      <a:rPr lang="en-US" i="1" dirty="0">
                        <a:latin typeface="Cambria Math" panose="02040503050406030204" pitchFamily="18" charset="0"/>
                      </a:rPr>
                      <m:t>98</m:t>
                    </m:r>
                    <m:r>
                      <a:rPr lang="en-GB" b="0" i="1" dirty="0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 smtClean="0"/>
                  <a:t>variables </a:t>
                </a:r>
                <a14:m>
                  <m:oMath xmlns:m="http://schemas.openxmlformats.org/officeDocument/2006/math"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∈</m:t>
                    </m:r>
                    <m:sSub>
                      <m:sSubPr>
                        <m:ctrlPr>
                          <a:rPr lang="en-GB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ℤ</m:t>
                        </m:r>
                      </m:e>
                      <m:sub>
                        <m:r>
                          <a:rPr lang="en-GB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6</m:t>
                        </m:r>
                      </m:sub>
                    </m:sSub>
                  </m:oMath>
                </a14:m>
                <a:r>
                  <a:rPr lang="en-US" dirty="0" smtClean="0"/>
                  <a:t> to predict</a:t>
                </a:r>
              </a:p>
              <a:p>
                <a:pPr algn="just"/>
                <a:endParaRPr lang="en-GB" dirty="0" smtClean="0"/>
              </a:p>
              <a:p>
                <a:pPr algn="just"/>
                <a:r>
                  <a:rPr lang="en-GB" dirty="0" smtClean="0"/>
                  <a:t>Feature selection through </a:t>
                </a:r>
                <a:r>
                  <a:rPr lang="en-GB" dirty="0" err="1" smtClean="0"/>
                  <a:t>PoIs</a:t>
                </a:r>
                <a:r>
                  <a:rPr lang="en-GB" dirty="0" smtClean="0"/>
                  <a:t> (SOST [6])</a:t>
                </a:r>
                <a:endParaRPr lang="en-US" dirty="0" smtClean="0"/>
              </a:p>
              <a:p>
                <a:pPr algn="just"/>
                <a:r>
                  <a:rPr lang="en-US" dirty="0" smtClean="0"/>
                  <a:t>Assume </a:t>
                </a:r>
                <a:r>
                  <a:rPr lang="en-US" dirty="0"/>
                  <a:t>traces follow a multivariate Gaussian </a:t>
                </a:r>
                <a:r>
                  <a:rPr lang="en-US" dirty="0" smtClean="0"/>
                  <a:t>distribution</a:t>
                </a:r>
                <a:endParaRPr lang="en-US" dirty="0"/>
              </a:p>
            </p:txBody>
          </p:sp>
        </mc:Choice>
        <mc:Fallback xmlns="">
          <p:sp>
            <p:nvSpPr>
              <p:cNvPr id="9" name="Text Placeholder 2">
                <a:extLst>
                  <a:ext uri="{FF2B5EF4-FFF2-40B4-BE49-F238E27FC236}">
                    <a16:creationId xmlns="" xmlns:a16="http://schemas.microsoft.com/office/drawing/2014/main" xmlns:a14="http://schemas.microsoft.com/office/drawing/2010/main" id="{8DC4B8A9-87F5-3C46-8C8C-5B396166EEC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8197" y="2140052"/>
                <a:ext cx="10515600" cy="1989957"/>
              </a:xfrm>
              <a:prstGeom prst="rect">
                <a:avLst/>
              </a:prstGeom>
              <a:blipFill rotWithShape="0">
                <a:blip r:embed="rId4"/>
                <a:stretch>
                  <a:fillRect l="-1855" t="-7362" b="-766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3107190E-BAF3-26E2-61E0-4D1FD5A1F890}"/>
              </a:ext>
            </a:extLst>
          </p:cNvPr>
          <p:cNvSpPr txBox="1"/>
          <p:nvPr/>
        </p:nvSpPr>
        <p:spPr>
          <a:xfrm>
            <a:off x="841248" y="6172200"/>
            <a:ext cx="59775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/>
                </a:solidFill>
              </a:rPr>
              <a:t>[5] </a:t>
            </a:r>
            <a:r>
              <a:rPr lang="en-US" sz="1000" dirty="0">
                <a:solidFill>
                  <a:schemeClr val="tx2"/>
                </a:solidFill>
                <a:hlinkClick r:id="rId5"/>
              </a:rPr>
              <a:t>https://</a:t>
            </a:r>
            <a:r>
              <a:rPr lang="en-US" sz="1000" dirty="0" smtClean="0">
                <a:solidFill>
                  <a:schemeClr val="tx2"/>
                </a:solidFill>
                <a:hlinkClick r:id="rId5"/>
              </a:rPr>
              <a:t>link.springer.com/content/pdf/10.1007/3-540-36400-5_3.pdf</a:t>
            </a:r>
            <a:endParaRPr lang="en-US" sz="1000" dirty="0" smtClean="0">
              <a:solidFill>
                <a:schemeClr val="tx2"/>
              </a:solidFill>
            </a:endParaRPr>
          </a:p>
          <a:p>
            <a:r>
              <a:rPr lang="en-US" sz="1000" dirty="0" smtClean="0">
                <a:solidFill>
                  <a:schemeClr val="tx2"/>
                </a:solidFill>
              </a:rPr>
              <a:t>[6] </a:t>
            </a:r>
            <a:r>
              <a:rPr lang="en-US" sz="1000" dirty="0">
                <a:solidFill>
                  <a:schemeClr val="tx2"/>
                </a:solidFill>
                <a:hlinkClick r:id="rId6"/>
              </a:rPr>
              <a:t>https://</a:t>
            </a:r>
            <a:r>
              <a:rPr lang="en-US" sz="1000" dirty="0" smtClean="0">
                <a:solidFill>
                  <a:schemeClr val="tx2"/>
                </a:solidFill>
                <a:hlinkClick r:id="rId6"/>
              </a:rPr>
              <a:t>eprint.iacr.org/2014/332.pdf</a:t>
            </a:r>
            <a:endParaRPr lang="en-US" sz="1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4640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5372F41-E7BD-08FC-615A-FF35FFCBB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untermeasures: L</a:t>
            </a:r>
            <a:r>
              <a:rPr lang="en-CH" dirty="0" smtClean="0"/>
              <a:t>eakage </a:t>
            </a:r>
            <a:r>
              <a:rPr lang="en-CH" dirty="0"/>
              <a:t>comparison and CP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0B85A8E9-0134-D7E8-5E8F-C49D415393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2131877"/>
            <a:ext cx="4383923" cy="3883723"/>
          </a:xfrm>
        </p:spPr>
        <p:txBody>
          <a:bodyPr/>
          <a:lstStyle/>
          <a:p>
            <a:r>
              <a:rPr lang="en-GB" dirty="0" smtClean="0"/>
              <a:t>Masking [7] and Shuffling [8]</a:t>
            </a:r>
            <a:endParaRPr lang="en-US" dirty="0" smtClean="0"/>
          </a:p>
          <a:p>
            <a:r>
              <a:rPr lang="en-US" dirty="0" smtClean="0"/>
              <a:t>T-test </a:t>
            </a:r>
            <a:r>
              <a:rPr lang="en-US" dirty="0"/>
              <a:t>to find leakage points (TVLA [9</a:t>
            </a:r>
            <a:r>
              <a:rPr lang="en-US" dirty="0" smtClean="0"/>
              <a:t>])</a:t>
            </a:r>
            <a:endParaRPr lang="en-GB" dirty="0" smtClean="0"/>
          </a:p>
          <a:p>
            <a:pPr>
              <a:buClr>
                <a:srgbClr val="00B050"/>
              </a:buClr>
              <a:buFont typeface="Wingdings" panose="05000000000000000000" pitchFamily="2" charset="2"/>
              <a:buChar char="ü"/>
            </a:pPr>
            <a:endParaRPr lang="en-US" dirty="0" smtClean="0"/>
          </a:p>
          <a:p>
            <a:pPr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en-US" dirty="0" smtClean="0"/>
              <a:t>Eliminated </a:t>
            </a:r>
            <a:r>
              <a:rPr lang="en-US" dirty="0"/>
              <a:t>first-order leakage</a:t>
            </a:r>
          </a:p>
          <a:p>
            <a:pPr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en-US" dirty="0"/>
              <a:t>CPA mitigated with masking shares changing every trac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3D5A79E3-A59F-82D0-922D-A1AD302E4D0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CH" dirty="0">
                <a:solidFill>
                  <a:schemeClr val="accent2"/>
                </a:solidFill>
              </a:rPr>
              <a:t>DEFENSES</a:t>
            </a:r>
            <a:endParaRPr lang="en-CH" dirty="0">
              <a:solidFill>
                <a:schemeClr val="accent2"/>
              </a:solidFill>
            </a:endParaRPr>
          </a:p>
        </p:txBody>
      </p:sp>
      <p:pic>
        <p:nvPicPr>
          <p:cNvPr id="15" name="Picture 14" descr="A graph with blue lines&#10;&#10;Description automatically generated">
            <a:extLst>
              <a:ext uri="{FF2B5EF4-FFF2-40B4-BE49-F238E27FC236}">
                <a16:creationId xmlns="" xmlns:a16="http://schemas.microsoft.com/office/drawing/2014/main" id="{1F198679-4720-3D56-32C4-6D6A18F6E1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2123" y="2128849"/>
            <a:ext cx="6969877" cy="1783562"/>
          </a:xfrm>
          <a:prstGeom prst="rect">
            <a:avLst/>
          </a:prstGeom>
        </p:spPr>
      </p:pic>
      <p:pic>
        <p:nvPicPr>
          <p:cNvPr id="17" name="Picture 16" descr="A graph with a line in the middle&#10;&#10;Description automatically generated">
            <a:extLst>
              <a:ext uri="{FF2B5EF4-FFF2-40B4-BE49-F238E27FC236}">
                <a16:creationId xmlns="" xmlns:a16="http://schemas.microsoft.com/office/drawing/2014/main" id="{3D7E1047-7767-7236-A451-4550B11F356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2123" y="4351020"/>
            <a:ext cx="6969876" cy="178356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A3F040A0-46D8-AC79-706C-7A9D81D8C4CB}"/>
              </a:ext>
            </a:extLst>
          </p:cNvPr>
          <p:cNvSpPr txBox="1"/>
          <p:nvPr/>
        </p:nvSpPr>
        <p:spPr>
          <a:xfrm>
            <a:off x="838199" y="6015600"/>
            <a:ext cx="602244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chemeClr val="tx2"/>
                </a:solidFill>
              </a:rPr>
              <a:t>[7] </a:t>
            </a:r>
            <a:r>
              <a:rPr lang="en-GB" sz="1000" dirty="0">
                <a:solidFill>
                  <a:schemeClr val="tx2"/>
                </a:solidFill>
                <a:hlinkClick r:id="rId4"/>
              </a:rPr>
              <a:t>https://link.springer.com/content/pdf/10.1007/3-540-48059-5_15.pdf</a:t>
            </a:r>
            <a:endParaRPr lang="en-GB" sz="1000" dirty="0">
              <a:solidFill>
                <a:schemeClr val="tx2"/>
              </a:solidFill>
            </a:endParaRPr>
          </a:p>
          <a:p>
            <a:r>
              <a:rPr lang="en-GB" sz="1000" dirty="0" smtClean="0">
                <a:solidFill>
                  <a:schemeClr val="tx2"/>
                </a:solidFill>
              </a:rPr>
              <a:t>[8] </a:t>
            </a:r>
            <a:r>
              <a:rPr lang="en-GB" sz="1000" dirty="0">
                <a:solidFill>
                  <a:schemeClr val="tx2"/>
                </a:solidFill>
                <a:hlinkClick r:id="rId5"/>
              </a:rPr>
              <a:t>https://</a:t>
            </a:r>
            <a:r>
              <a:rPr lang="en-GB" sz="1000" dirty="0" smtClean="0">
                <a:solidFill>
                  <a:schemeClr val="tx2"/>
                </a:solidFill>
                <a:hlinkClick r:id="rId5"/>
              </a:rPr>
              <a:t>link.springer.com/content/pdf/10.1007/978-3-642-34961-4_44.pdf</a:t>
            </a:r>
            <a:endParaRPr lang="en-GB" sz="1000" dirty="0" smtClean="0">
              <a:solidFill>
                <a:schemeClr val="tx2"/>
              </a:solidFill>
            </a:endParaRPr>
          </a:p>
          <a:p>
            <a:r>
              <a:rPr lang="en-US" sz="1000" dirty="0">
                <a:solidFill>
                  <a:schemeClr val="tx2"/>
                </a:solidFill>
              </a:rPr>
              <a:t>[9] </a:t>
            </a:r>
            <a:r>
              <a:rPr lang="en-US" sz="1000" dirty="0">
                <a:solidFill>
                  <a:schemeClr val="tx2"/>
                </a:solidFill>
                <a:hlinkClick r:id="rId6"/>
              </a:rPr>
              <a:t>https://</a:t>
            </a:r>
            <a:r>
              <a:rPr lang="en-US" sz="1000" dirty="0" smtClean="0">
                <a:solidFill>
                  <a:schemeClr val="tx2"/>
                </a:solidFill>
                <a:hlinkClick r:id="rId6"/>
              </a:rPr>
              <a:t>csrc.nist.gov/csrc/media/events/non-invasive-attack-testing-workshop/documents/08_goodwill.pdf</a:t>
            </a:r>
            <a:endParaRPr lang="en-US" sz="1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6978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7" name="Content Placeholder 6"/>
              <p:cNvSpPr>
                <a:spLocks noGrp="1"/>
              </p:cNvSpPr>
              <p:nvPr>
                <p:ph sz="half" idx="2"/>
              </p:nvPr>
            </p:nvSpPr>
            <p:spPr>
              <a:xfrm>
                <a:off x="6151943" y="1425984"/>
                <a:ext cx="5937813" cy="4926872"/>
              </a:xfrm>
            </p:spPr>
            <p:txBody>
              <a:bodyPr/>
              <a:lstStyle/>
              <a:p>
                <a:pPr algn="just"/>
                <a:r>
                  <a:rPr lang="en-US" sz="2800" dirty="0" smtClean="0"/>
                  <a:t>Shuffling</a:t>
                </a:r>
                <a:endParaRPr lang="en-US" sz="2267" dirty="0"/>
              </a:p>
              <a:p>
                <a:pPr marL="457189" lvl="1" indent="0" algn="just">
                  <a:buNone/>
                </a:pPr>
                <a:r>
                  <a:rPr lang="en-US" sz="2267" dirty="0">
                    <a:solidFill>
                      <a:schemeClr val="accent3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→ </a:t>
                </a:r>
                <a:r>
                  <a:rPr lang="en-US" sz="2267" dirty="0"/>
                  <a:t>16 Random Start Indices</a:t>
                </a:r>
              </a:p>
              <a:p>
                <a:pPr marL="457189" lvl="1" indent="0" algn="just">
                  <a:buNone/>
                </a:pPr>
                <a:endParaRPr lang="en-US" sz="2267" dirty="0"/>
              </a:p>
              <a:p>
                <a:pPr algn="just"/>
                <a:r>
                  <a:rPr lang="en-US" sz="2800" dirty="0"/>
                  <a:t>Masking:</a:t>
                </a:r>
              </a:p>
              <a:p>
                <a:pPr lvl="1" algn="just"/>
                <a:r>
                  <a:rPr lang="en-US" sz="2267" dirty="0"/>
                  <a:t>98 values each with 2 shares</a:t>
                </a:r>
              </a:p>
              <a:p>
                <a:pPr lvl="1" algn="just"/>
                <a:r>
                  <a:rPr lang="en-US" sz="2267" dirty="0"/>
                  <a:t>Separately predicted during RWS </a:t>
                </a:r>
                <a:r>
                  <a:rPr lang="en-US" sz="2267" dirty="0" smtClean="0"/>
                  <a:t>and </a:t>
                </a:r>
                <a14:m>
                  <m:oMath xmlns:m="http://schemas.openxmlformats.org/officeDocument/2006/math">
                    <m:r>
                      <a:rPr lang="en-GB" sz="2267" b="0" i="1" smtClean="0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endParaRPr lang="en-US" sz="2267" dirty="0" smtClean="0"/>
              </a:p>
              <a:p>
                <a:pPr marL="457189" lvl="1" indent="0" algn="just">
                  <a:buNone/>
                </a:pPr>
                <a:r>
                  <a:rPr lang="en-US" sz="2267" dirty="0" smtClean="0">
                    <a:solidFill>
                      <a:schemeClr val="accent3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→</a:t>
                </a:r>
                <a:r>
                  <a:rPr lang="en-US" sz="2267" dirty="0" smtClean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GB" sz="2267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98∙2∙2=392</m:t>
                    </m:r>
                  </m:oMath>
                </a14:m>
                <a:r>
                  <a:rPr lang="en-US" sz="2267" dirty="0" smtClean="0"/>
                  <a:t> mask shares</a:t>
                </a:r>
              </a:p>
              <a:p>
                <a:pPr marL="457189" lvl="1" indent="0" algn="just">
                  <a:buNone/>
                </a:pPr>
                <a:endParaRPr lang="en-US" sz="2267" dirty="0" smtClean="0"/>
              </a:p>
              <a:p>
                <a:pPr algn="just"/>
                <a:r>
                  <a:rPr lang="en-US" sz="2800" dirty="0" smtClean="0"/>
                  <a:t>Total </a:t>
                </a:r>
                <a:r>
                  <a:rPr lang="en-US" sz="2800" dirty="0"/>
                  <a:t>of 408 variables, compared to 98 without countermeasures</a:t>
                </a:r>
              </a:p>
              <a:p>
                <a:pPr algn="just"/>
                <a:r>
                  <a:rPr lang="en-US" sz="2800" dirty="0"/>
                  <a:t>Templates: 20% </a:t>
                </a:r>
                <a:r>
                  <a:rPr lang="en-US" sz="2800" dirty="0" smtClean="0"/>
                  <a:t>recovery with </a:t>
                </a:r>
                <a:r>
                  <a:rPr lang="en-US" sz="2800" dirty="0"/>
                  <a:t>250’000 extraction traces: too complex</a:t>
                </a:r>
              </a:p>
            </p:txBody>
          </p:sp>
        </mc:Choice>
        <mc:Fallback xmlns="">
          <p:sp>
            <p:nvSpPr>
              <p:cNvPr id="7" name="Content Placeholder 6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half" idx="2"/>
              </p:nvPr>
            </p:nvSpPr>
            <p:spPr>
              <a:xfrm>
                <a:off x="6151943" y="1425984"/>
                <a:ext cx="5937813" cy="4926872"/>
              </a:xfrm>
              <a:blipFill rotWithShape="0">
                <a:blip r:embed="rId3"/>
                <a:stretch>
                  <a:fillRect l="-3388" t="-2970" r="-3696" b="-457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mplates</a:t>
            </a: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9992" y="1836666"/>
            <a:ext cx="4754882" cy="4105509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="" xmlns:a16="http://schemas.microsoft.com/office/drawing/2014/main" id="{D7AC90F9-CD87-2073-1742-DE5A02F34B1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26338" y="629308"/>
            <a:ext cx="10526786" cy="233009"/>
          </a:xfrm>
        </p:spPr>
        <p:txBody>
          <a:bodyPr/>
          <a:lstStyle/>
          <a:p>
            <a:r>
              <a:rPr lang="fr-CH" dirty="0">
                <a:solidFill>
                  <a:schemeClr val="accent3"/>
                </a:solidFill>
              </a:rPr>
              <a:t>BYPASSING DEFENSES</a:t>
            </a:r>
            <a:endParaRPr lang="en-CH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89124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="" xmlns:a16="http://schemas.microsoft.com/office/drawing/2014/main" id="{9B6A052D-8A50-38B9-A1D6-ECEFE490EA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Deep Learning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16E2FE2A-FABA-B694-3864-684CCC5273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199" y="1726001"/>
            <a:ext cx="10765831" cy="4151036"/>
          </a:xfrm>
        </p:spPr>
        <p:txBody>
          <a:bodyPr/>
          <a:lstStyle/>
          <a:p>
            <a:r>
              <a:rPr lang="en-CH" dirty="0"/>
              <a:t>Similar countermeasures attacked by DL in a 2021 work </a:t>
            </a:r>
            <a:r>
              <a:rPr lang="en-CH" dirty="0" smtClean="0"/>
              <a:t>[</a:t>
            </a:r>
            <a:r>
              <a:rPr lang="en-US" dirty="0" smtClean="0"/>
              <a:t>10</a:t>
            </a:r>
            <a:r>
              <a:rPr lang="en-CH" dirty="0" smtClean="0"/>
              <a:t>]</a:t>
            </a:r>
            <a:endParaRPr lang="en-GB" dirty="0"/>
          </a:p>
          <a:p>
            <a:endParaRPr lang="en-GB" dirty="0"/>
          </a:p>
          <a:p>
            <a:r>
              <a:rPr lang="en-GB" dirty="0"/>
              <a:t>A few attempts:</a:t>
            </a:r>
          </a:p>
          <a:p>
            <a:pPr marL="971539" lvl="1" indent="-514350">
              <a:buFont typeface="+mj-lt"/>
              <a:buAutoNum type="arabicPeriod"/>
            </a:pPr>
            <a:r>
              <a:rPr lang="en-CH" dirty="0"/>
              <a:t>20</a:t>
            </a:r>
            <a:r>
              <a:rPr lang="en-GB" dirty="0"/>
              <a:t> billion </a:t>
            </a:r>
            <a:r>
              <a:rPr lang="en-CH" dirty="0"/>
              <a:t>parameters with the same architecture</a:t>
            </a:r>
            <a:r>
              <a:rPr lang="en-GB" dirty="0"/>
              <a:t>: </a:t>
            </a:r>
          </a:p>
          <a:p>
            <a:pPr lvl="2">
              <a:buClr>
                <a:schemeClr val="accent1"/>
              </a:buClr>
              <a:buFont typeface="Calibri" panose="020F0502020204030204" pitchFamily="34" charset="0"/>
              <a:buChar char="×"/>
            </a:pPr>
            <a:r>
              <a:rPr lang="en-GB" dirty="0"/>
              <a:t>Too many parameters to train</a:t>
            </a:r>
          </a:p>
          <a:p>
            <a:pPr marL="971539" lvl="1" indent="-514350">
              <a:buFont typeface="+mj-lt"/>
              <a:buAutoNum type="arabicPeriod"/>
            </a:pPr>
            <a:r>
              <a:rPr lang="en-GB" dirty="0"/>
              <a:t>Reduction to 188 million:</a:t>
            </a:r>
          </a:p>
          <a:p>
            <a:pPr lvl="2"/>
            <a:r>
              <a:rPr lang="en-GB" dirty="0"/>
              <a:t>Wavelet transform [</a:t>
            </a:r>
            <a:r>
              <a:rPr lang="en-GB" dirty="0" smtClean="0"/>
              <a:t>11], </a:t>
            </a:r>
            <a:r>
              <a:rPr lang="en-GB" dirty="0"/>
              <a:t>focus on leakage regions, reduce number of intermediary nodes</a:t>
            </a:r>
          </a:p>
          <a:p>
            <a:pPr lvl="2">
              <a:buClr>
                <a:schemeClr val="accent1"/>
              </a:buClr>
              <a:buFont typeface="Calibri" panose="020F0502020204030204" pitchFamily="34" charset="0"/>
              <a:buChar char="×"/>
            </a:pPr>
            <a:r>
              <a:rPr lang="en-GB" dirty="0"/>
              <a:t>Performance not satisfactory</a:t>
            </a:r>
          </a:p>
          <a:p>
            <a:pPr marL="971539" lvl="1" indent="-514350">
              <a:buFont typeface="+mj-lt"/>
              <a:buAutoNum type="arabicPeriod"/>
            </a:pPr>
            <a:r>
              <a:rPr lang="en-CH" dirty="0"/>
              <a:t>Split the trace and train </a:t>
            </a:r>
            <a:r>
              <a:rPr lang="fr-CH" dirty="0"/>
              <a:t>20 </a:t>
            </a:r>
            <a:r>
              <a:rPr lang="en-CH" dirty="0"/>
              <a:t>smaller</a:t>
            </a:r>
            <a:r>
              <a:rPr lang="fr-CH" dirty="0"/>
              <a:t> </a:t>
            </a:r>
            <a:r>
              <a:rPr lang="en-CH" dirty="0"/>
              <a:t>independent models</a:t>
            </a:r>
            <a:r>
              <a:rPr lang="en-GB" dirty="0"/>
              <a:t> on </a:t>
            </a:r>
            <a:r>
              <a:rPr lang="en-GB" dirty="0" err="1"/>
              <a:t>subwindows</a:t>
            </a:r>
            <a:r>
              <a:rPr lang="en-GB" dirty="0"/>
              <a:t> of the trace</a:t>
            </a:r>
            <a:r>
              <a:rPr lang="fr-CH" dirty="0"/>
              <a:t>.</a:t>
            </a:r>
          </a:p>
          <a:p>
            <a:pPr lvl="2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en-CH" dirty="0"/>
              <a:t>Easier to train due to less parameters per model</a:t>
            </a:r>
          </a:p>
          <a:p>
            <a:pPr lvl="2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en-CH" dirty="0"/>
              <a:t>Use multiple GPUs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A256C8C-6C7B-75BA-A2E9-78123262BDC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CH" dirty="0">
                <a:solidFill>
                  <a:schemeClr val="accent3"/>
                </a:solidFill>
              </a:rPr>
              <a:t>BYPASSING DEFENSES</a:t>
            </a:r>
            <a:endParaRPr lang="en-CH" dirty="0">
              <a:solidFill>
                <a:schemeClr val="accent3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3107190E-BAF3-26E2-61E0-4D1FD5A1F890}"/>
              </a:ext>
            </a:extLst>
          </p:cNvPr>
          <p:cNvSpPr txBox="1"/>
          <p:nvPr/>
        </p:nvSpPr>
        <p:spPr>
          <a:xfrm>
            <a:off x="841248" y="6172200"/>
            <a:ext cx="59775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chemeClr val="tx2"/>
                </a:solidFill>
              </a:rPr>
              <a:t>[10] </a:t>
            </a:r>
            <a:r>
              <a:rPr lang="en-US" sz="1000" dirty="0">
                <a:hlinkClick r:id="rId3"/>
              </a:rPr>
              <a:t>https://eprint.iacr.org/2021/592.pdf</a:t>
            </a:r>
            <a:endParaRPr lang="en-US" sz="1000" dirty="0"/>
          </a:p>
          <a:p>
            <a:r>
              <a:rPr lang="en-US" sz="1000" dirty="0">
                <a:solidFill>
                  <a:schemeClr val="tx2"/>
                </a:solidFill>
              </a:rPr>
              <a:t>[</a:t>
            </a:r>
            <a:r>
              <a:rPr lang="en-US" sz="1000" dirty="0" smtClean="0">
                <a:solidFill>
                  <a:schemeClr val="tx2"/>
                </a:solidFill>
              </a:rPr>
              <a:t>11] </a:t>
            </a:r>
            <a:r>
              <a:rPr lang="en-US" sz="1000" dirty="0">
                <a:solidFill>
                  <a:schemeClr val="tx2"/>
                </a:solidFill>
                <a:hlinkClick r:id="rId4"/>
              </a:rPr>
              <a:t>https://ieeexplore.ieee.org/document/6472489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471132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="" xmlns:a16="http://schemas.microsoft.com/office/drawing/2014/main" id="{9B6A052D-8A50-38B9-A1D6-ECEFE490EA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 err="1"/>
              <a:t>Defenses</a:t>
            </a:r>
            <a:r>
              <a:rPr lang="en-CH" dirty="0"/>
              <a:t> impac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A256C8C-6C7B-75BA-A2E9-78123262BDC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CH">
                <a:solidFill>
                  <a:schemeClr val="accent3"/>
                </a:solidFill>
              </a:rPr>
              <a:t>BYPASSING DEFENSES</a:t>
            </a:r>
            <a:endParaRPr lang="en-CH" dirty="0">
              <a:solidFill>
                <a:schemeClr val="accent3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83385E77-60C9-2910-6092-597298149D76}"/>
              </a:ext>
            </a:extLst>
          </p:cNvPr>
          <p:cNvSpPr txBox="1"/>
          <p:nvPr/>
        </p:nvSpPr>
        <p:spPr>
          <a:xfrm>
            <a:off x="3451347" y="5333549"/>
            <a:ext cx="52767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H"/>
              <a:t>Overall attack results with countermeasures enabled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7" name="Table 6">
                <a:extLst>
                  <a:ext uri="{FF2B5EF4-FFF2-40B4-BE49-F238E27FC236}">
                    <a16:creationId xmlns="" xmlns:a16="http://schemas.microsoft.com/office/drawing/2014/main" id="{073BE0DB-5464-7502-2A0B-03F179BBE978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923853154"/>
                  </p:ext>
                </p:extLst>
              </p:nvPr>
            </p:nvGraphicFramePr>
            <p:xfrm>
              <a:off x="109133" y="2747108"/>
              <a:ext cx="11961196" cy="2494280"/>
            </p:xfrm>
            <a:graphic>
              <a:graphicData uri="http://schemas.openxmlformats.org/drawingml/2006/table">
                <a:tbl>
                  <a:tblPr firstRow="1" bandRow="1">
                    <a:tableStyleId>{F5AB1C69-6EDB-4FF4-983F-18BD219EF322}</a:tableStyleId>
                  </a:tblPr>
                  <a:tblGrid>
                    <a:gridCol w="1321461">
                      <a:extLst>
                        <a:ext uri="{9D8B030D-6E8A-4147-A177-3AD203B41FA5}">
                          <a16:colId xmlns="" xmlns:a16="http://schemas.microsoft.com/office/drawing/2014/main" val="2337236851"/>
                        </a:ext>
                      </a:extLst>
                    </a:gridCol>
                    <a:gridCol w="1216741">
                      <a:extLst>
                        <a:ext uri="{9D8B030D-6E8A-4147-A177-3AD203B41FA5}">
                          <a16:colId xmlns="" xmlns:a16="http://schemas.microsoft.com/office/drawing/2014/main" val="1244958549"/>
                        </a:ext>
                      </a:extLst>
                    </a:gridCol>
                    <a:gridCol w="1347890">
                      <a:extLst>
                        <a:ext uri="{9D8B030D-6E8A-4147-A177-3AD203B41FA5}">
                          <a16:colId xmlns="" xmlns:a16="http://schemas.microsoft.com/office/drawing/2014/main" val="2911165604"/>
                        </a:ext>
                      </a:extLst>
                    </a:gridCol>
                    <a:gridCol w="1111347">
                      <a:extLst>
                        <a:ext uri="{9D8B030D-6E8A-4147-A177-3AD203B41FA5}">
                          <a16:colId xmlns="" xmlns:a16="http://schemas.microsoft.com/office/drawing/2014/main" val="2357085095"/>
                        </a:ext>
                      </a:extLst>
                    </a:gridCol>
                    <a:gridCol w="1336431">
                      <a:extLst>
                        <a:ext uri="{9D8B030D-6E8A-4147-A177-3AD203B41FA5}">
                          <a16:colId xmlns="" xmlns:a16="http://schemas.microsoft.com/office/drawing/2014/main" val="2345634241"/>
                        </a:ext>
                      </a:extLst>
                    </a:gridCol>
                    <a:gridCol w="1223889">
                      <a:extLst>
                        <a:ext uri="{9D8B030D-6E8A-4147-A177-3AD203B41FA5}">
                          <a16:colId xmlns="" xmlns:a16="http://schemas.microsoft.com/office/drawing/2014/main" val="510205648"/>
                        </a:ext>
                      </a:extLst>
                    </a:gridCol>
                    <a:gridCol w="1280160">
                      <a:extLst>
                        <a:ext uri="{9D8B030D-6E8A-4147-A177-3AD203B41FA5}">
                          <a16:colId xmlns="" xmlns:a16="http://schemas.microsoft.com/office/drawing/2014/main" val="4251271130"/>
                        </a:ext>
                      </a:extLst>
                    </a:gridCol>
                    <a:gridCol w="1540662">
                      <a:extLst>
                        <a:ext uri="{9D8B030D-6E8A-4147-A177-3AD203B41FA5}">
                          <a16:colId xmlns="" xmlns:a16="http://schemas.microsoft.com/office/drawing/2014/main" val="1377911104"/>
                        </a:ext>
                      </a:extLst>
                    </a:gridCol>
                    <a:gridCol w="1582615">
                      <a:extLst>
                        <a:ext uri="{9D8B030D-6E8A-4147-A177-3AD203B41FA5}">
                          <a16:colId xmlns="" xmlns:a16="http://schemas.microsoft.com/office/drawing/2014/main" val="2089286245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Method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# Profiling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# Extraction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CH" b="1" i="1" noProof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r-CH" b="1" i="1" noProof="0" smtClean="0">
                                      <a:latin typeface="Cambria Math" panose="02040503050406030204" pitchFamily="18" charset="0"/>
                                    </a:rPr>
                                    <m:t>𝒑</m:t>
                                  </m:r>
                                </m:e>
                                <m:sub>
                                  <m:r>
                                    <a:rPr lang="en-CH" b="1" i="1" noProof="0" smtClean="0">
                                      <a:latin typeface="Cambria Math" panose="02040503050406030204" pitchFamily="18" charset="0"/>
                                    </a:rPr>
                                    <m:t>𝒓𝒘𝒔</m:t>
                                  </m:r>
                                </m:sub>
                              </m:sSub>
                            </m:oMath>
                          </a14:m>
                          <a:r>
                            <a:rPr lang="en-CH" noProof="0" dirty="0"/>
                            <a:t> (%)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377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CH" b="1" i="1" noProof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CH" b="1" i="1" noProof="0" smtClean="0">
                                      <a:latin typeface="Cambria Math" panose="02040503050406030204" pitchFamily="18" charset="0"/>
                                    </a:rPr>
                                    <m:t>𝒑</m:t>
                                  </m:r>
                                </m:e>
                                <m:sub>
                                  <m:r>
                                    <a:rPr lang="en-CH" b="1" i="1" noProof="0" smtClean="0">
                                      <a:latin typeface="Cambria Math" panose="02040503050406030204" pitchFamily="18" charset="0"/>
                                    </a:rPr>
                                    <m:t>𝒓𝒐𝒖𝒏𝒅</m:t>
                                  </m:r>
                                </m:sub>
                              </m:sSub>
                            </m:oMath>
                          </a14:m>
                          <a:r>
                            <a:rPr lang="en-CH" noProof="0" dirty="0"/>
                            <a:t> (%)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377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CH" b="1" i="1" noProof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CH" b="1" i="1" noProof="0" smtClean="0">
                                      <a:latin typeface="Cambria Math" panose="02040503050406030204" pitchFamily="18" charset="0"/>
                                    </a:rPr>
                                    <m:t>𝒑</m:t>
                                  </m:r>
                                </m:e>
                                <m:sub>
                                  <m:r>
                                    <a:rPr lang="en-CH" b="1" i="1" noProof="0" smtClean="0">
                                      <a:latin typeface="Cambria Math" panose="02040503050406030204" pitchFamily="18" charset="0"/>
                                    </a:rPr>
                                    <m:t>𝒃𝒍𝒐𝒄𝒌</m:t>
                                  </m:r>
                                </m:sub>
                              </m:sSub>
                            </m:oMath>
                          </a14:m>
                          <a:r>
                            <a:rPr lang="en-CH" noProof="0" dirty="0"/>
                            <a:t> (%)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377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CH" b="1" i="1" noProof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r-CH" b="1" i="1" noProof="0" smtClean="0">
                                      <a:latin typeface="Cambria Math" panose="02040503050406030204" pitchFamily="18" charset="0"/>
                                    </a:rPr>
                                    <m:t>𝒎</m:t>
                                  </m:r>
                                </m:e>
                                <m:sub>
                                  <m:r>
                                    <a:rPr lang="en-CH" b="1" i="1" noProof="0" smtClean="0">
                                      <a:latin typeface="Cambria Math" panose="02040503050406030204" pitchFamily="18" charset="0"/>
                                    </a:rPr>
                                    <m:t>𝒓𝒘𝒔</m:t>
                                  </m:r>
                                </m:sub>
                              </m:sSub>
                            </m:oMath>
                          </a14:m>
                          <a:r>
                            <a:rPr lang="en-CH" noProof="0" dirty="0"/>
                            <a:t> (%)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377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en-CH" b="1" i="1" noProof="0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r-CH" b="1" i="1" noProof="0" smtClean="0">
                                      <a:latin typeface="Cambria Math" panose="02040503050406030204" pitchFamily="18" charset="0"/>
                                    </a:rPr>
                                    <m:t>𝒎</m:t>
                                  </m:r>
                                </m:e>
                                <m:sub>
                                  <m:r>
                                    <a:rPr lang="fr-CH" b="1" i="1" noProof="0" smtClean="0">
                                      <a:latin typeface="Cambria Math" panose="02040503050406030204" pitchFamily="18" charset="0"/>
                                    </a:rPr>
                                    <m:t>𝒓</m:t>
                                  </m:r>
                                  <m:r>
                                    <a:rPr lang="en-CH" b="1" i="1" noProof="0" smtClean="0">
                                      <a:latin typeface="Cambria Math" panose="02040503050406030204" pitchFamily="18" charset="0"/>
                                    </a:rPr>
                                    <m:t>𝒐𝒖𝒏𝒅</m:t>
                                  </m:r>
                                </m:sub>
                              </m:sSub>
                            </m:oMath>
                          </a14:m>
                          <a:r>
                            <a:rPr lang="en-CH" noProof="0" dirty="0"/>
                            <a:t> (%)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GB" baseline="0" noProof="0" dirty="0" smtClean="0"/>
                            <a:t>Key recovery </a:t>
                          </a:r>
                          <a:r>
                            <a:rPr lang="en-CH" noProof="0" dirty="0" smtClean="0"/>
                            <a:t>(%)</a:t>
                          </a:r>
                          <a:endParaRPr lang="en-CH" noProof="0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="" xmlns:a16="http://schemas.microsoft.com/office/drawing/2014/main" val="1268868148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CPA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mitigated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mitigated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-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-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-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-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-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>
                              <a:solidFill>
                                <a:srgbClr val="FF0000"/>
                              </a:solidFill>
                            </a:rPr>
                            <a:t>mitigated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285192906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Template</a:t>
                          </a:r>
                          <a:r>
                            <a:rPr lang="en-GB" noProof="0" dirty="0"/>
                            <a:t>s</a:t>
                          </a:r>
                          <a:endParaRPr lang="en-CH" noProof="0" dirty="0"/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377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CH" noProof="0" dirty="0"/>
                            <a:t>675,000</a:t>
                          </a:r>
                          <a:endParaRPr lang="en-CH" noProof="0" dirty="0">
                            <a:solidFill>
                              <a:srgbClr val="FF0000"/>
                            </a:solidFill>
                          </a:endParaRPr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377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CH" noProof="0" dirty="0"/>
                            <a:t>250,000</a:t>
                          </a:r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377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fr-CH" noProof="0" dirty="0"/>
                            <a:t>69.96</a:t>
                          </a:r>
                          <a:endParaRPr lang="en-CH" noProof="0" dirty="0">
                            <a:solidFill>
                              <a:srgbClr val="FF0000"/>
                            </a:solidFill>
                          </a:endParaRPr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377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fr-CH" noProof="0" dirty="0"/>
                            <a:t>65.92</a:t>
                          </a:r>
                          <a:endParaRPr lang="en-CH" noProof="0" dirty="0"/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377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fr-CH" noProof="0" dirty="0"/>
                            <a:t>58.01</a:t>
                          </a:r>
                          <a:endParaRPr lang="en-CH" noProof="0" dirty="0"/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377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fr-CH" noProof="0" dirty="0"/>
                            <a:t>7.71</a:t>
                          </a:r>
                          <a:endParaRPr lang="en-CH" noProof="0" dirty="0">
                            <a:solidFill>
                              <a:srgbClr val="FF0000"/>
                            </a:solidFill>
                          </a:endParaRPr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377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fr-CH" noProof="0" dirty="0"/>
                            <a:t>7.37</a:t>
                          </a:r>
                          <a:endParaRPr lang="en-CH" noProof="0" dirty="0">
                            <a:solidFill>
                              <a:srgbClr val="FF0000"/>
                            </a:solidFill>
                          </a:endParaRPr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CH" noProof="0">
                              <a:solidFill>
                                <a:srgbClr val="FF0000"/>
                              </a:solidFill>
                            </a:rPr>
                            <a:t>20.7</a:t>
                          </a:r>
                          <a:endParaRPr lang="en-CH" noProof="0" dirty="0">
                            <a:solidFill>
                              <a:srgbClr val="FF0000"/>
                            </a:solidFill>
                          </a:endParaRPr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92011088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CH" noProof="0" dirty="0"/>
                            <a:t>Single</a:t>
                          </a:r>
                          <a:r>
                            <a:rPr lang="en-CH" noProof="0" dirty="0"/>
                            <a:t> NN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675,000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250,000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74.1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58.93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37.71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6.85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6.98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>
                              <a:solidFill>
                                <a:srgbClr val="FF0000"/>
                              </a:solidFill>
                            </a:rPr>
                            <a:t>12.5</a:t>
                          </a: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="" xmlns:a16="http://schemas.microsoft.com/office/drawing/2014/main" val="357981060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20 NNs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675,000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250,000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99.35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75.11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60.23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9.58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8.44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>
                              <a:solidFill>
                                <a:srgbClr val="FF0000"/>
                              </a:solidFill>
                            </a:rPr>
                            <a:t>100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3829538438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CH" noProof="0" dirty="0"/>
                            <a:t>Baseline</a:t>
                          </a:r>
                          <a:endParaRPr lang="en-CH" noProof="0" dirty="0"/>
                        </a:p>
                      </a:txBody>
                      <a:tcPr anchor="ctr"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CH" noProof="0" dirty="0"/>
                            <a:t>0</a:t>
                          </a:r>
                          <a:endParaRPr lang="en-CH" noProof="0" dirty="0"/>
                        </a:p>
                      </a:txBody>
                      <a:tcPr anchor="ctr">
                        <a:lnL w="12700" cmpd="sng">
                          <a:noFill/>
                        </a:lnL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CH" noProof="0" dirty="0"/>
                            <a:t>0</a:t>
                          </a:r>
                          <a:endParaRPr lang="en-CH" noProof="0" dirty="0"/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CH" noProof="0" dirty="0"/>
                            <a:t>1.02</a:t>
                          </a:r>
                          <a:endParaRPr lang="en-CH" noProof="0" dirty="0"/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CH" noProof="0" dirty="0"/>
                            <a:t>7.14</a:t>
                          </a:r>
                          <a:endParaRPr lang="en-CH" noProof="0" dirty="0"/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CH" noProof="0" dirty="0"/>
                            <a:t>14.29</a:t>
                          </a:r>
                          <a:endParaRPr lang="en-CH" noProof="0" dirty="0"/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CH" noProof="0" dirty="0"/>
                            <a:t>6.25</a:t>
                          </a:r>
                          <a:endParaRPr lang="en-CH" noProof="0" dirty="0"/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CH" noProof="0" dirty="0"/>
                            <a:t>6.25</a:t>
                          </a:r>
                          <a:endParaRPr lang="en-CH" noProof="0" dirty="0"/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CH" noProof="0" dirty="0">
                              <a:solidFill>
                                <a:srgbClr val="FF0000"/>
                              </a:solidFill>
                            </a:rPr>
                            <a:t>6.25</a:t>
                          </a:r>
                          <a:endParaRPr lang="en-CH" noProof="0" dirty="0">
                            <a:solidFill>
                              <a:srgbClr val="FF0000"/>
                            </a:solidFill>
                          </a:endParaRPr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extLst>
                      <a:ext uri="{0D108BD9-81ED-4DB2-BD59-A6C34878D82A}">
                        <a16:rowId xmlns="" xmlns:a16="http://schemas.microsoft.com/office/drawing/2014/main" val="2978463625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7" name="Table 6">
                <a:extLst>
                  <a:ext uri="{FF2B5EF4-FFF2-40B4-BE49-F238E27FC236}">
                    <a16:creationId xmlns="" xmlns:a16="http://schemas.microsoft.com/office/drawing/2014/main" xmlns:a14="http://schemas.microsoft.com/office/drawing/2010/main" id="{073BE0DB-5464-7502-2A0B-03F179BBE978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923853154"/>
                  </p:ext>
                </p:extLst>
              </p:nvPr>
            </p:nvGraphicFramePr>
            <p:xfrm>
              <a:off x="109133" y="2747108"/>
              <a:ext cx="11961196" cy="2494280"/>
            </p:xfrm>
            <a:graphic>
              <a:graphicData uri="http://schemas.openxmlformats.org/drawingml/2006/table">
                <a:tbl>
                  <a:tblPr firstRow="1" bandRow="1">
                    <a:tableStyleId>{F5AB1C69-6EDB-4FF4-983F-18BD219EF322}</a:tableStyleId>
                  </a:tblPr>
                  <a:tblGrid>
                    <a:gridCol w="1321461">
                      <a:extLst>
                        <a:ext uri="{9D8B030D-6E8A-4147-A177-3AD203B41FA5}">
                          <a16:colId xmlns="" xmlns:a16="http://schemas.microsoft.com/office/drawing/2014/main" xmlns:a14="http://schemas.microsoft.com/office/drawing/2010/main" val="2337236851"/>
                        </a:ext>
                      </a:extLst>
                    </a:gridCol>
                    <a:gridCol w="1216741">
                      <a:extLst>
                        <a:ext uri="{9D8B030D-6E8A-4147-A177-3AD203B41FA5}">
                          <a16:colId xmlns="" xmlns:a16="http://schemas.microsoft.com/office/drawing/2014/main" xmlns:a14="http://schemas.microsoft.com/office/drawing/2010/main" val="1244958549"/>
                        </a:ext>
                      </a:extLst>
                    </a:gridCol>
                    <a:gridCol w="1347890">
                      <a:extLst>
                        <a:ext uri="{9D8B030D-6E8A-4147-A177-3AD203B41FA5}">
                          <a16:colId xmlns="" xmlns:a16="http://schemas.microsoft.com/office/drawing/2014/main" xmlns:a14="http://schemas.microsoft.com/office/drawing/2010/main" val="2911165604"/>
                        </a:ext>
                      </a:extLst>
                    </a:gridCol>
                    <a:gridCol w="1111347">
                      <a:extLst>
                        <a:ext uri="{9D8B030D-6E8A-4147-A177-3AD203B41FA5}">
                          <a16:colId xmlns="" xmlns:a16="http://schemas.microsoft.com/office/drawing/2014/main" xmlns:a14="http://schemas.microsoft.com/office/drawing/2010/main" val="2357085095"/>
                        </a:ext>
                      </a:extLst>
                    </a:gridCol>
                    <a:gridCol w="1336431">
                      <a:extLst>
                        <a:ext uri="{9D8B030D-6E8A-4147-A177-3AD203B41FA5}">
                          <a16:colId xmlns="" xmlns:a16="http://schemas.microsoft.com/office/drawing/2014/main" xmlns:a14="http://schemas.microsoft.com/office/drawing/2010/main" val="2345634241"/>
                        </a:ext>
                      </a:extLst>
                    </a:gridCol>
                    <a:gridCol w="1223889">
                      <a:extLst>
                        <a:ext uri="{9D8B030D-6E8A-4147-A177-3AD203B41FA5}">
                          <a16:colId xmlns="" xmlns:a16="http://schemas.microsoft.com/office/drawing/2014/main" xmlns:a14="http://schemas.microsoft.com/office/drawing/2010/main" val="510205648"/>
                        </a:ext>
                      </a:extLst>
                    </a:gridCol>
                    <a:gridCol w="1280160">
                      <a:extLst>
                        <a:ext uri="{9D8B030D-6E8A-4147-A177-3AD203B41FA5}">
                          <a16:colId xmlns="" xmlns:a16="http://schemas.microsoft.com/office/drawing/2014/main" xmlns:a14="http://schemas.microsoft.com/office/drawing/2010/main" val="4251271130"/>
                        </a:ext>
                      </a:extLst>
                    </a:gridCol>
                    <a:gridCol w="1540662">
                      <a:extLst>
                        <a:ext uri="{9D8B030D-6E8A-4147-A177-3AD203B41FA5}">
                          <a16:colId xmlns="" xmlns:a16="http://schemas.microsoft.com/office/drawing/2014/main" xmlns:a14="http://schemas.microsoft.com/office/drawing/2010/main" val="1377911104"/>
                        </a:ext>
                      </a:extLst>
                    </a:gridCol>
                    <a:gridCol w="1582615">
                      <a:extLst>
                        <a:ext uri="{9D8B030D-6E8A-4147-A177-3AD203B41FA5}">
                          <a16:colId xmlns="" xmlns:a16="http://schemas.microsoft.com/office/drawing/2014/main" xmlns:a14="http://schemas.microsoft.com/office/drawing/2010/main" val="2089286245"/>
                        </a:ext>
                      </a:extLst>
                    </a:gridCol>
                  </a:tblGrid>
                  <a:tr h="64008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Method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# Profiling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# Extraction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 rotWithShape="0">
                          <a:blip r:embed="rId3"/>
                          <a:stretch>
                            <a:fillRect l="-349180" t="-4762" r="-626776" b="-30476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 rotWithShape="0">
                          <a:blip r:embed="rId3"/>
                          <a:stretch>
                            <a:fillRect l="-375342" t="-4762" r="-423744" b="-30476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 rotWithShape="0">
                          <a:blip r:embed="rId3"/>
                          <a:stretch>
                            <a:fillRect l="-517910" t="-4762" r="-361692" b="-30476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 rotWithShape="0">
                          <a:blip r:embed="rId3"/>
                          <a:stretch>
                            <a:fillRect l="-591429" t="-4762" r="-246190" b="-30476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 rotWithShape="0">
                          <a:blip r:embed="rId3"/>
                          <a:stretch>
                            <a:fillRect l="-573913" t="-4762" r="-104348" b="-30476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GB" baseline="0" noProof="0" dirty="0" smtClean="0"/>
                            <a:t>Key recovery </a:t>
                          </a:r>
                          <a:r>
                            <a:rPr lang="en-CH" noProof="0" dirty="0" smtClean="0"/>
                            <a:t>(%)</a:t>
                          </a:r>
                          <a:endParaRPr lang="en-CH" noProof="0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1268868148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CPA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mitigated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mitigated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-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-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-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-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-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>
                              <a:solidFill>
                                <a:srgbClr val="FF0000"/>
                              </a:solidFill>
                            </a:rPr>
                            <a:t>mitigated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285192906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Template</a:t>
                          </a:r>
                          <a:r>
                            <a:rPr lang="en-GB" noProof="0" dirty="0"/>
                            <a:t>s</a:t>
                          </a:r>
                          <a:endParaRPr lang="en-CH" noProof="0" dirty="0"/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377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CH" noProof="0" dirty="0"/>
                            <a:t>675,000</a:t>
                          </a:r>
                          <a:endParaRPr lang="en-CH" noProof="0" dirty="0">
                            <a:solidFill>
                              <a:srgbClr val="FF0000"/>
                            </a:solidFill>
                          </a:endParaRPr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377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CH" noProof="0" dirty="0"/>
                            <a:t>250,000</a:t>
                          </a:r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377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fr-CH" noProof="0" dirty="0"/>
                            <a:t>69.96</a:t>
                          </a:r>
                          <a:endParaRPr lang="en-CH" noProof="0" dirty="0">
                            <a:solidFill>
                              <a:srgbClr val="FF0000"/>
                            </a:solidFill>
                          </a:endParaRPr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377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fr-CH" noProof="0" dirty="0"/>
                            <a:t>65.92</a:t>
                          </a:r>
                          <a:endParaRPr lang="en-CH" noProof="0" dirty="0"/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377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fr-CH" noProof="0" dirty="0"/>
                            <a:t>58.01</a:t>
                          </a:r>
                          <a:endParaRPr lang="en-CH" noProof="0" dirty="0"/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377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fr-CH" noProof="0" dirty="0"/>
                            <a:t>7.71</a:t>
                          </a:r>
                          <a:endParaRPr lang="en-CH" noProof="0" dirty="0">
                            <a:solidFill>
                              <a:srgbClr val="FF0000"/>
                            </a:solidFill>
                          </a:endParaRPr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914377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fr-CH" noProof="0" dirty="0"/>
                            <a:t>7.37</a:t>
                          </a:r>
                          <a:endParaRPr lang="en-CH" noProof="0" dirty="0">
                            <a:solidFill>
                              <a:srgbClr val="FF0000"/>
                            </a:solidFill>
                          </a:endParaRPr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CH" noProof="0">
                              <a:solidFill>
                                <a:srgbClr val="FF0000"/>
                              </a:solidFill>
                            </a:rPr>
                            <a:t>20.7</a:t>
                          </a:r>
                          <a:endParaRPr lang="en-CH" noProof="0" dirty="0">
                            <a:solidFill>
                              <a:srgbClr val="FF0000"/>
                            </a:solidFill>
                          </a:endParaRPr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92011088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CH" noProof="0" dirty="0"/>
                            <a:t>Single</a:t>
                          </a:r>
                          <a:r>
                            <a:rPr lang="en-CH" noProof="0" dirty="0"/>
                            <a:t> NN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675,000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250,000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74.12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58.93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37.71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6.85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6.98</a:t>
                          </a: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>
                              <a:solidFill>
                                <a:srgbClr val="FF0000"/>
                              </a:solidFill>
                            </a:rPr>
                            <a:t>12.5</a:t>
                          </a:r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357981060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20 NNs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675,000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250,000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99.35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75.11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60.23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9.58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/>
                            <a:t>8.44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CH" noProof="0" dirty="0">
                              <a:solidFill>
                                <a:srgbClr val="FF0000"/>
                              </a:solidFill>
                            </a:rPr>
                            <a:t>100</a:t>
                          </a:r>
                        </a:p>
                      </a:txBody>
                      <a:tcPr anchor="ctr"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3829538438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CH" noProof="0" dirty="0"/>
                            <a:t>Baseline</a:t>
                          </a:r>
                          <a:endParaRPr lang="en-CH" noProof="0" dirty="0"/>
                        </a:p>
                      </a:txBody>
                      <a:tcPr anchor="ctr">
                        <a:lnL w="12700" cmpd="sng">
                          <a:noFill/>
                        </a:lnL>
                        <a:lnR w="12700" cmpd="sng">
                          <a:noFill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mpd="sng">
                          <a:noFill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CH" noProof="0" dirty="0"/>
                            <a:t>0</a:t>
                          </a:r>
                          <a:endParaRPr lang="en-CH" noProof="0" dirty="0"/>
                        </a:p>
                      </a:txBody>
                      <a:tcPr anchor="ctr">
                        <a:lnL w="12700" cmpd="sng">
                          <a:noFill/>
                        </a:lnL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CH" noProof="0" dirty="0"/>
                            <a:t>0</a:t>
                          </a:r>
                          <a:endParaRPr lang="en-CH" noProof="0" dirty="0"/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CH" noProof="0" dirty="0"/>
                            <a:t>1.02</a:t>
                          </a:r>
                          <a:endParaRPr lang="en-CH" noProof="0" dirty="0"/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CH" noProof="0" dirty="0"/>
                            <a:t>7.14</a:t>
                          </a:r>
                          <a:endParaRPr lang="en-CH" noProof="0" dirty="0"/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CH" noProof="0" dirty="0"/>
                            <a:t>14.29</a:t>
                          </a:r>
                          <a:endParaRPr lang="en-CH" noProof="0" dirty="0"/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CH" noProof="0" dirty="0"/>
                            <a:t>6.25</a:t>
                          </a:r>
                          <a:endParaRPr lang="en-CH" noProof="0" dirty="0"/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CH" noProof="0" dirty="0"/>
                            <a:t>6.25</a:t>
                          </a:r>
                          <a:endParaRPr lang="en-CH" noProof="0" dirty="0"/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fr-CH" noProof="0" dirty="0">
                              <a:solidFill>
                                <a:srgbClr val="FF0000"/>
                              </a:solidFill>
                            </a:rPr>
                            <a:t>6.25</a:t>
                          </a:r>
                          <a:endParaRPr lang="en-CH" noProof="0" dirty="0">
                            <a:solidFill>
                              <a:srgbClr val="FF0000"/>
                            </a:solidFill>
                          </a:endParaRPr>
                        </a:p>
                      </a:txBody>
                      <a:tcPr anchor="ctr"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</a:tcPr>
                    </a:tc>
                    <a:extLst>
                      <a:ext uri="{0D108BD9-81ED-4DB2-BD59-A6C34878D82A}">
                        <a16:rowId xmlns="" xmlns:a16="http://schemas.microsoft.com/office/drawing/2014/main" xmlns:a14="http://schemas.microsoft.com/office/drawing/2010/main" val="2978463625"/>
                      </a:ext>
                    </a:extLst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3310855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="" xmlns:a16="http://schemas.microsoft.com/office/drawing/2014/main" id="{950C71FA-31D6-E24E-82F0-93559BE56F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 &amp; Future Work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DC4B8A9-87F5-3C46-8C8C-5B396166EEC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ide-channel analysis on a new and relevant technology – Hybrid HE</a:t>
            </a:r>
          </a:p>
          <a:p>
            <a:r>
              <a:rPr lang="en-US" dirty="0"/>
              <a:t>Very feasible to retrieve the whole key without </a:t>
            </a:r>
            <a:r>
              <a:rPr lang="en-US" dirty="0" smtClean="0"/>
              <a:t>protection</a:t>
            </a:r>
          </a:p>
          <a:p>
            <a:pPr lvl="1"/>
            <a:r>
              <a:rPr lang="en-GB" dirty="0" smtClean="0"/>
              <a:t>Even with 4-bit leakage on a 32-bit processor</a:t>
            </a:r>
            <a:endParaRPr lang="en-US" dirty="0"/>
          </a:p>
          <a:p>
            <a:r>
              <a:rPr lang="en-US" dirty="0"/>
              <a:t>Masking and shuffling increase the attack complexity</a:t>
            </a:r>
          </a:p>
          <a:p>
            <a:pPr lvl="1"/>
            <a:r>
              <a:rPr lang="en-US" dirty="0"/>
              <a:t>250x more traces, need to train several DL models</a:t>
            </a:r>
          </a:p>
          <a:p>
            <a:endParaRPr lang="en-US" dirty="0"/>
          </a:p>
          <a:p>
            <a:r>
              <a:rPr lang="en-US" dirty="0"/>
              <a:t>Future </a:t>
            </a:r>
            <a:r>
              <a:rPr lang="en-US" dirty="0" smtClean="0"/>
              <a:t>work:</a:t>
            </a:r>
          </a:p>
          <a:p>
            <a:pPr lvl="1"/>
            <a:r>
              <a:rPr lang="en-US" dirty="0" smtClean="0"/>
              <a:t>Adapt the </a:t>
            </a:r>
            <a:r>
              <a:rPr lang="en-US" dirty="0"/>
              <a:t>architecture of the cipher </a:t>
            </a:r>
            <a:r>
              <a:rPr lang="en-US" dirty="0" smtClean="0"/>
              <a:t>to eliminate some leaking </a:t>
            </a:r>
            <a:r>
              <a:rPr lang="en-US" dirty="0"/>
              <a:t>regions</a:t>
            </a:r>
          </a:p>
          <a:p>
            <a:pPr lvl="1"/>
            <a:r>
              <a:rPr lang="en-GB" dirty="0" smtClean="0"/>
              <a:t>Analyse how other HHE schemes (Pasta, HERA, </a:t>
            </a:r>
            <a:r>
              <a:rPr lang="en-GB" dirty="0" err="1" smtClean="0"/>
              <a:t>Rubato</a:t>
            </a:r>
            <a:r>
              <a:rPr lang="en-GB" dirty="0" smtClean="0"/>
              <a:t>) are affected by the same attacks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EC1D3909-932D-1C4E-9F8F-1E77B13BBB3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07345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="" xmlns:a16="http://schemas.microsoft.com/office/drawing/2014/main" id="{950C71FA-31D6-E24E-82F0-93559BE56F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Reduction [13]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 Placeholder 2">
                <a:extLst>
                  <a:ext uri="{FF2B5EF4-FFF2-40B4-BE49-F238E27FC236}">
                    <a16:creationId xmlns="" xmlns:a16="http://schemas.microsoft.com/office/drawing/2014/main" id="{8DC4B8A9-87F5-3C46-8C8C-5B396166EEC8}"/>
                  </a:ext>
                </a:extLst>
              </p:cNvPr>
              <p:cNvSpPr>
                <a:spLocks noGrp="1"/>
              </p:cNvSpPr>
              <p:nvPr>
                <p:ph type="body" sz="quarter" idx="10"/>
              </p:nvPr>
            </p:nvSpPr>
            <p:spPr/>
            <p:txBody>
              <a:bodyPr/>
              <a:lstStyle/>
              <a:p>
                <a:r>
                  <a:rPr lang="en-US" b="1" dirty="0"/>
                  <a:t>S</a:t>
                </a:r>
                <a:r>
                  <a:rPr lang="en-US" dirty="0"/>
                  <a:t>um </a:t>
                </a:r>
                <a:r>
                  <a:rPr lang="en-US" b="1" dirty="0"/>
                  <a:t>O</a:t>
                </a:r>
                <a:r>
                  <a:rPr lang="en-US" dirty="0"/>
                  <a:t>f </a:t>
                </a:r>
                <a:r>
                  <a:rPr lang="en-US" b="1" dirty="0"/>
                  <a:t>S</a:t>
                </a:r>
                <a:r>
                  <a:rPr lang="en-US" dirty="0"/>
                  <a:t>quared pairwise </a:t>
                </a:r>
                <a:r>
                  <a:rPr lang="en-US" b="1" dirty="0"/>
                  <a:t>T</a:t>
                </a:r>
                <a:r>
                  <a:rPr lang="en-US" dirty="0"/>
                  <a:t>-differences (</a:t>
                </a:r>
                <a:r>
                  <a:rPr lang="en-US" b="1" dirty="0"/>
                  <a:t>SOST</a:t>
                </a:r>
                <a:r>
                  <a:rPr lang="en-US" dirty="0"/>
                  <a:t>)</a:t>
                </a:r>
              </a:p>
              <a:p>
                <a14:m>
                  <m:oMath xmlns:m="http://schemas.openxmlformats.org/officeDocument/2006/math">
                    <m:r>
                      <a:rPr lang="en-US" sz="3600" b="0" i="1" smtClean="0">
                        <a:latin typeface="Cambria Math" panose="02040503050406030204" pitchFamily="18" charset="0"/>
                      </a:rPr>
                      <m:t>𝐹</m:t>
                    </m:r>
                    <m:d>
                      <m:dPr>
                        <m:ctrlPr>
                          <a:rPr lang="en-US" sz="36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</m:d>
                    <m:r>
                      <a:rPr lang="en-US" sz="3600" b="0" i="1" smtClean="0">
                        <a:latin typeface="Cambria Math" panose="02040503050406030204" pitchFamily="18" charset="0"/>
                      </a:rPr>
                      <m:t>=</m:t>
                    </m:r>
                    <m:nary>
                      <m:naryPr>
                        <m:chr m:val="∑"/>
                        <m:supHide m:val="on"/>
                        <m:ctrlPr>
                          <a:rPr lang="en-US" sz="3600" b="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7"/>
                          </m:rPr>
                          <a:rPr lang="en-US" sz="36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≠</m:t>
                        </m:r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  <m:sup/>
                      <m:e>
                        <m:sSup>
                          <m:sSupPr>
                            <m:ctrlPr>
                              <a:rPr lang="en-US" sz="36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d>
                              <m:dPr>
                                <m:ctrlPr>
                                  <a:rPr lang="en-US" sz="3600" b="0" i="1" smtClean="0"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f>
                                  <m:fPr>
                                    <m:ctrlPr>
                                      <a:rPr lang="en-US" sz="3600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sSub>
                                      <m:sSubPr>
                                        <m:ctrlPr>
                                          <a:rPr lang="en-US" sz="3600" b="0" i="1" smtClean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3600" b="0" i="1" smtClean="0">
                                            <a:latin typeface="Cambria Math" panose="02040503050406030204" pitchFamily="18" charset="0"/>
                                          </a:rPr>
                                          <m:t>𝑀</m:t>
                                        </m:r>
                                      </m:e>
                                      <m:sub>
                                        <m:r>
                                          <a:rPr lang="en-US" sz="3600" b="0" i="1" smtClean="0">
                                            <a:latin typeface="Cambria Math" panose="02040503050406030204" pitchFamily="18" charset="0"/>
                                          </a:rPr>
                                          <m:t>𝑖</m:t>
                                        </m:r>
                                      </m:sub>
                                    </m:sSub>
                                    <m:d>
                                      <m:dPr>
                                        <m:ctrlPr>
                                          <a:rPr lang="en-US" sz="3600" b="0" i="1" smtClean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3600" b="0" i="1" smtClean="0">
                                            <a:latin typeface="Cambria Math" panose="02040503050406030204" pitchFamily="18" charset="0"/>
                                          </a:rPr>
                                          <m:t>𝑡</m:t>
                                        </m:r>
                                      </m:e>
                                    </m:d>
                                    <m:r>
                                      <a:rPr lang="en-US" sz="3600" b="0" i="1" smtClean="0">
                                        <a:latin typeface="Cambria Math" panose="02040503050406030204" pitchFamily="18" charset="0"/>
                                      </a:rPr>
                                      <m:t>−</m:t>
                                    </m:r>
                                    <m:sSub>
                                      <m:sSubPr>
                                        <m:ctrlPr>
                                          <a:rPr lang="en-US" sz="3600" b="0" i="1" smtClean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3600" b="0" i="1" smtClean="0">
                                            <a:latin typeface="Cambria Math" panose="02040503050406030204" pitchFamily="18" charset="0"/>
                                          </a:rPr>
                                          <m:t>𝑀</m:t>
                                        </m:r>
                                      </m:e>
                                      <m:sub>
                                        <m:r>
                                          <a:rPr lang="en-US" sz="3600" b="0" i="1" smtClean="0">
                                            <a:latin typeface="Cambria Math" panose="02040503050406030204" pitchFamily="18" charset="0"/>
                                          </a:rPr>
                                          <m:t>𝑗</m:t>
                                        </m:r>
                                      </m:sub>
                                    </m:sSub>
                                    <m:r>
                                      <a:rPr lang="en-US" sz="3600" b="0" i="1" smtClean="0">
                                        <a:latin typeface="Cambria Math" panose="02040503050406030204" pitchFamily="18" charset="0"/>
                                      </a:rPr>
                                      <m:t>(</m:t>
                                    </m:r>
                                    <m:r>
                                      <a:rPr lang="en-US" sz="3600" b="0" i="1" smtClean="0">
                                        <a:latin typeface="Cambria Math" panose="02040503050406030204" pitchFamily="18" charset="0"/>
                                      </a:rPr>
                                      <m:t>𝑡</m:t>
                                    </m:r>
                                    <m:r>
                                      <a:rPr lang="en-US" sz="3600" b="0" i="1" smtClean="0">
                                        <a:latin typeface="Cambria Math" panose="02040503050406030204" pitchFamily="18" charset="0"/>
                                      </a:rPr>
                                      <m:t>)</m:t>
                                    </m:r>
                                  </m:num>
                                  <m:den>
                                    <m:rad>
                                      <m:radPr>
                                        <m:degHide m:val="on"/>
                                        <m:ctrlPr>
                                          <a:rPr lang="en-US" sz="3600" b="0" i="1" smtClean="0"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radPr>
                                      <m:deg/>
                                      <m:e>
                                        <m:f>
                                          <m:fPr>
                                            <m:type m:val="lin"/>
                                            <m:ctrlPr>
                                              <a:rPr lang="en-US" sz="3600" i="1">
                                                <a:latin typeface="Cambria Math" panose="02040503050406030204" pitchFamily="18" charset="0"/>
                                                <a:ea typeface="Cambria Math" panose="02040503050406030204" pitchFamily="18" charset="0"/>
                                              </a:rPr>
                                            </m:ctrlPr>
                                          </m:fPr>
                                          <m:num>
                                            <m:sSubSup>
                                              <m:sSubSupPr>
                                                <m:ctrlPr>
                                                  <a:rPr lang="en-US" sz="3600" i="1">
                                                    <a:latin typeface="Cambria Math" panose="02040503050406030204" pitchFamily="18" charset="0"/>
                                                    <a:ea typeface="Cambria Math" panose="02040503050406030204" pitchFamily="18" charset="0"/>
                                                  </a:rPr>
                                                </m:ctrlPr>
                                              </m:sSubSupPr>
                                              <m:e>
                                                <m:r>
                                                  <a:rPr lang="en-US" sz="3600" i="1">
                                                    <a:latin typeface="Cambria Math" panose="02040503050406030204" pitchFamily="18" charset="0"/>
                                                    <a:ea typeface="Cambria Math" panose="02040503050406030204" pitchFamily="18" charset="0"/>
                                                  </a:rPr>
                                                  <m:t>𝜎</m:t>
                                                </m:r>
                                              </m:e>
                                              <m:sub>
                                                <m:r>
                                                  <a:rPr lang="en-US" sz="3600" i="1">
                                                    <a:latin typeface="Cambria Math" panose="02040503050406030204" pitchFamily="18" charset="0"/>
                                                    <a:ea typeface="Cambria Math" panose="02040503050406030204" pitchFamily="18" charset="0"/>
                                                  </a:rPr>
                                                  <m:t>𝑖</m:t>
                                                </m:r>
                                              </m:sub>
                                              <m:sup>
                                                <m:r>
                                                  <a:rPr lang="en-US" sz="3600" i="1">
                                                    <a:latin typeface="Cambria Math" panose="02040503050406030204" pitchFamily="18" charset="0"/>
                                                    <a:ea typeface="Cambria Math" panose="02040503050406030204" pitchFamily="18" charset="0"/>
                                                  </a:rPr>
                                                  <m:t>2</m:t>
                                                </m:r>
                                              </m:sup>
                                            </m:sSubSup>
                                            <m:d>
                                              <m:dPr>
                                                <m:ctrlPr>
                                                  <a:rPr lang="en-US" sz="3600" i="1">
                                                    <a:latin typeface="Cambria Math" panose="02040503050406030204" pitchFamily="18" charset="0"/>
                                                    <a:ea typeface="Cambria Math" panose="02040503050406030204" pitchFamily="18" charset="0"/>
                                                  </a:rPr>
                                                </m:ctrlPr>
                                              </m:dPr>
                                              <m:e>
                                                <m:r>
                                                  <a:rPr lang="en-US" sz="3600" i="1">
                                                    <a:latin typeface="Cambria Math" panose="02040503050406030204" pitchFamily="18" charset="0"/>
                                                    <a:ea typeface="Cambria Math" panose="02040503050406030204" pitchFamily="18" charset="0"/>
                                                  </a:rPr>
                                                  <m:t>𝑡</m:t>
                                                </m:r>
                                              </m:e>
                                            </m:d>
                                          </m:num>
                                          <m:den>
                                            <m:d>
                                              <m:dPr>
                                                <m:begChr m:val="|"/>
                                                <m:endChr m:val="|"/>
                                                <m:ctrlPr>
                                                  <a:rPr lang="en-US" sz="3600" i="1">
                                                    <a:latin typeface="Cambria Math" panose="02040503050406030204" pitchFamily="18" charset="0"/>
                                                    <a:ea typeface="Cambria Math" panose="02040503050406030204" pitchFamily="18" charset="0"/>
                                                  </a:rPr>
                                                </m:ctrlPr>
                                              </m:dPr>
                                              <m:e>
                                                <m:sSub>
                                                  <m:sSubPr>
                                                    <m:ctrlPr>
                                                      <a:rPr lang="en-US" sz="3600" i="1">
                                                        <a:latin typeface="Cambria Math" panose="02040503050406030204" pitchFamily="18" charset="0"/>
                                                        <a:ea typeface="Cambria Math" panose="02040503050406030204" pitchFamily="18" charset="0"/>
                                                      </a:rPr>
                                                    </m:ctrlPr>
                                                  </m:sSubPr>
                                                  <m:e>
                                                    <m:r>
                                                      <a:rPr lang="en-US" sz="3600" i="1">
                                                        <a:latin typeface="Cambria Math" panose="02040503050406030204" pitchFamily="18" charset="0"/>
                                                        <a:ea typeface="Cambria Math" panose="02040503050406030204" pitchFamily="18" charset="0"/>
                                                      </a:rPr>
                                                      <m:t>𝐺</m:t>
                                                    </m:r>
                                                  </m:e>
                                                  <m:sub>
                                                    <m:r>
                                                      <a:rPr lang="en-US" sz="3600" i="1">
                                                        <a:latin typeface="Cambria Math" panose="02040503050406030204" pitchFamily="18" charset="0"/>
                                                        <a:ea typeface="Cambria Math" panose="02040503050406030204" pitchFamily="18" charset="0"/>
                                                      </a:rPr>
                                                      <m:t>𝑖</m:t>
                                                    </m:r>
                                                  </m:sub>
                                                </m:sSub>
                                              </m:e>
                                            </m:d>
                                          </m:den>
                                        </m:f>
                                        <m:r>
                                          <a:rPr lang="en-US" sz="3600" b="0" i="1" smtClean="0">
                                            <a:latin typeface="Cambria Math" panose="02040503050406030204" pitchFamily="18" charset="0"/>
                                            <a:ea typeface="Cambria Math" panose="02040503050406030204" pitchFamily="18" charset="0"/>
                                          </a:rPr>
                                          <m:t>+</m:t>
                                        </m:r>
                                        <m:f>
                                          <m:fPr>
                                            <m:type m:val="lin"/>
                                            <m:ctrlPr>
                                              <a:rPr lang="en-US" sz="3600" i="1">
                                                <a:latin typeface="Cambria Math" panose="02040503050406030204" pitchFamily="18" charset="0"/>
                                                <a:ea typeface="Cambria Math" panose="02040503050406030204" pitchFamily="18" charset="0"/>
                                              </a:rPr>
                                            </m:ctrlPr>
                                          </m:fPr>
                                          <m:num>
                                            <m:sSubSup>
                                              <m:sSubSupPr>
                                                <m:ctrlPr>
                                                  <a:rPr lang="en-US" sz="3600" i="1">
                                                    <a:latin typeface="Cambria Math" panose="02040503050406030204" pitchFamily="18" charset="0"/>
                                                    <a:ea typeface="Cambria Math" panose="02040503050406030204" pitchFamily="18" charset="0"/>
                                                  </a:rPr>
                                                </m:ctrlPr>
                                              </m:sSubSupPr>
                                              <m:e>
                                                <m:r>
                                                  <a:rPr lang="en-US" sz="3600" i="1">
                                                    <a:latin typeface="Cambria Math" panose="02040503050406030204" pitchFamily="18" charset="0"/>
                                                    <a:ea typeface="Cambria Math" panose="02040503050406030204" pitchFamily="18" charset="0"/>
                                                  </a:rPr>
                                                  <m:t>𝜎</m:t>
                                                </m:r>
                                              </m:e>
                                              <m:sub>
                                                <m:r>
                                                  <a:rPr lang="en-US" sz="3600" b="0" i="1" smtClean="0">
                                                    <a:latin typeface="Cambria Math" panose="02040503050406030204" pitchFamily="18" charset="0"/>
                                                    <a:ea typeface="Cambria Math" panose="02040503050406030204" pitchFamily="18" charset="0"/>
                                                  </a:rPr>
                                                  <m:t>𝑗</m:t>
                                                </m:r>
                                              </m:sub>
                                              <m:sup>
                                                <m:r>
                                                  <a:rPr lang="en-US" sz="3600" i="1">
                                                    <a:latin typeface="Cambria Math" panose="02040503050406030204" pitchFamily="18" charset="0"/>
                                                    <a:ea typeface="Cambria Math" panose="02040503050406030204" pitchFamily="18" charset="0"/>
                                                  </a:rPr>
                                                  <m:t>2</m:t>
                                                </m:r>
                                              </m:sup>
                                            </m:sSubSup>
                                            <m:d>
                                              <m:dPr>
                                                <m:ctrlPr>
                                                  <a:rPr lang="en-US" sz="3600" i="1">
                                                    <a:latin typeface="Cambria Math" panose="02040503050406030204" pitchFamily="18" charset="0"/>
                                                    <a:ea typeface="Cambria Math" panose="02040503050406030204" pitchFamily="18" charset="0"/>
                                                  </a:rPr>
                                                </m:ctrlPr>
                                              </m:dPr>
                                              <m:e>
                                                <m:r>
                                                  <a:rPr lang="en-US" sz="3600" i="1">
                                                    <a:latin typeface="Cambria Math" panose="02040503050406030204" pitchFamily="18" charset="0"/>
                                                    <a:ea typeface="Cambria Math" panose="02040503050406030204" pitchFamily="18" charset="0"/>
                                                  </a:rPr>
                                                  <m:t>𝑡</m:t>
                                                </m:r>
                                              </m:e>
                                            </m:d>
                                          </m:num>
                                          <m:den>
                                            <m:d>
                                              <m:dPr>
                                                <m:begChr m:val="|"/>
                                                <m:endChr m:val="|"/>
                                                <m:ctrlPr>
                                                  <a:rPr lang="en-US" sz="3600" i="1">
                                                    <a:latin typeface="Cambria Math" panose="02040503050406030204" pitchFamily="18" charset="0"/>
                                                    <a:ea typeface="Cambria Math" panose="02040503050406030204" pitchFamily="18" charset="0"/>
                                                  </a:rPr>
                                                </m:ctrlPr>
                                              </m:dPr>
                                              <m:e>
                                                <m:sSub>
                                                  <m:sSubPr>
                                                    <m:ctrlPr>
                                                      <a:rPr lang="en-US" sz="3600" i="1">
                                                        <a:latin typeface="Cambria Math" panose="02040503050406030204" pitchFamily="18" charset="0"/>
                                                        <a:ea typeface="Cambria Math" panose="02040503050406030204" pitchFamily="18" charset="0"/>
                                                      </a:rPr>
                                                    </m:ctrlPr>
                                                  </m:sSubPr>
                                                  <m:e>
                                                    <m:r>
                                                      <a:rPr lang="en-US" sz="3600" i="1">
                                                        <a:latin typeface="Cambria Math" panose="02040503050406030204" pitchFamily="18" charset="0"/>
                                                        <a:ea typeface="Cambria Math" panose="02040503050406030204" pitchFamily="18" charset="0"/>
                                                      </a:rPr>
                                                      <m:t>𝐺</m:t>
                                                    </m:r>
                                                  </m:e>
                                                  <m:sub>
                                                    <m:r>
                                                      <a:rPr lang="en-US" sz="3600" b="0" i="1" smtClean="0">
                                                        <a:latin typeface="Cambria Math" panose="02040503050406030204" pitchFamily="18" charset="0"/>
                                                        <a:ea typeface="Cambria Math" panose="02040503050406030204" pitchFamily="18" charset="0"/>
                                                      </a:rPr>
                                                      <m:t>𝑗</m:t>
                                                    </m:r>
                                                  </m:sub>
                                                </m:sSub>
                                              </m:e>
                                            </m:d>
                                          </m:den>
                                        </m:f>
                                      </m:e>
                                    </m:rad>
                                  </m:den>
                                </m:f>
                              </m:e>
                            </m:d>
                          </m:e>
                          <m:sup>
                            <m:r>
                              <a:rPr lang="en-US" sz="36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,  </m:t>
                        </m:r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, </m:t>
                        </m:r>
                        <m:r>
                          <a:rPr lang="en-US" sz="3600" b="0" i="1" smtClean="0">
                            <a:latin typeface="Cambria Math" panose="02040503050406030204" pitchFamily="18" charset="0"/>
                          </a:rPr>
                          <m:t>𝑗</m:t>
                        </m:r>
                        <m:r>
                          <a:rPr lang="en-US" sz="36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∈</m:t>
                        </m:r>
                        <m:d>
                          <m:dPr>
                            <m:begChr m:val="{"/>
                            <m:endChr m:val="}"/>
                            <m:ctrlPr>
                              <a:rPr lang="en-US" sz="3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sz="36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0,…,15</m:t>
                            </m:r>
                          </m:e>
                        </m:d>
                      </m:e>
                    </m:nary>
                  </m:oMath>
                </a14:m>
                <a:endParaRPr lang="en-US" sz="3200" dirty="0"/>
              </a:p>
              <a:p>
                <a:r>
                  <a:rPr lang="en-US" dirty="0"/>
                  <a:t>Measure of discriminatory potential for each timepoint</a:t>
                </a:r>
              </a:p>
              <a:p>
                <a:r>
                  <a:rPr lang="en-US" dirty="0"/>
                  <a:t>Choose the timepoints of the N highest values</a:t>
                </a:r>
              </a:p>
              <a:p>
                <a:pPr lvl="1">
                  <a:buClr>
                    <a:srgbClr val="00B050"/>
                  </a:buClr>
                  <a:buFont typeface="Wingdings" panose="05000000000000000000" pitchFamily="2" charset="2"/>
                  <a:buChar char="ü"/>
                </a:pPr>
                <a:r>
                  <a:rPr lang="en-US" dirty="0"/>
                  <a:t>Automatic process to capture the maximal information from the traces</a:t>
                </a:r>
              </a:p>
              <a:p>
                <a:r>
                  <a:rPr lang="en-US" dirty="0"/>
                  <a:t>Repeat for each of the 98 key values</a:t>
                </a:r>
              </a:p>
            </p:txBody>
          </p:sp>
        </mc:Choice>
        <mc:Fallback xmlns="">
          <p:sp>
            <p:nvSpPr>
              <p:cNvPr id="3" name="Text Placeholder 2">
                <a:extLst>
                  <a:ext uri="{FF2B5EF4-FFF2-40B4-BE49-F238E27FC236}">
                    <a16:creationId xmlns:a16="http://schemas.microsoft.com/office/drawing/2014/main" id="{8DC4B8A9-87F5-3C46-8C8C-5B396166EEC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blipFill>
                <a:blip r:embed="rId3"/>
                <a:stretch>
                  <a:fillRect l="-1913" t="-3909" b="-3420"/>
                </a:stretch>
              </a:blipFill>
            </p:spPr>
            <p:txBody>
              <a:bodyPr/>
              <a:lstStyle/>
              <a:p>
                <a:r>
                  <a:rPr lang="en-CH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EC1D3909-932D-1C4E-9F8F-1E77B13BBB3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dirty="0">
                <a:solidFill>
                  <a:schemeClr val="accent3"/>
                </a:solidFill>
              </a:rPr>
              <a:t>PROFILING ATTACK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B2C4C198-0E68-BCEF-1AE2-2CD9C883ED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62253" y="149092"/>
            <a:ext cx="2305873" cy="199096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BA119184-1540-62EF-F988-021C508314C0}"/>
              </a:ext>
            </a:extLst>
          </p:cNvPr>
          <p:cNvSpPr txBox="1"/>
          <p:nvPr/>
        </p:nvSpPr>
        <p:spPr>
          <a:xfrm>
            <a:off x="838197" y="6324783"/>
            <a:ext cx="23216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/>
                </a:solidFill>
              </a:rPr>
              <a:t>[13] </a:t>
            </a:r>
            <a:r>
              <a:rPr lang="en-US" sz="1000" dirty="0">
                <a:solidFill>
                  <a:schemeClr val="tx2"/>
                </a:solidFill>
                <a:hlinkClick r:id="rId5"/>
              </a:rPr>
              <a:t>https://eprint.iacr.org/2014/332.pdf</a:t>
            </a:r>
            <a:endParaRPr lang="en-US" sz="1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6318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="" xmlns:a16="http://schemas.microsoft.com/office/drawing/2014/main" id="{950C71FA-31D6-E24E-82F0-93559BE56F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 Reduction [13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EC1D3909-932D-1C4E-9F8F-1E77B13BBB3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dirty="0">
                <a:solidFill>
                  <a:schemeClr val="accent3"/>
                </a:solidFill>
              </a:rPr>
              <a:t>PROFILING ATTACK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BA119184-1540-62EF-F988-021C508314C0}"/>
              </a:ext>
            </a:extLst>
          </p:cNvPr>
          <p:cNvSpPr txBox="1"/>
          <p:nvPr/>
        </p:nvSpPr>
        <p:spPr>
          <a:xfrm>
            <a:off x="838198" y="6324784"/>
            <a:ext cx="29980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/>
                </a:solidFill>
              </a:rPr>
              <a:t>[13] </a:t>
            </a:r>
            <a:r>
              <a:rPr lang="en-US" sz="1000" dirty="0">
                <a:solidFill>
                  <a:schemeClr val="tx2"/>
                </a:solidFill>
                <a:hlinkClick r:id="rId3"/>
              </a:rPr>
              <a:t>https://eprint.iacr.org/2014/332.pdf</a:t>
            </a:r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10" name="Picture 9" descr="A blue and green sound wave&#10;&#10;Description automatically generated">
            <a:extLst>
              <a:ext uri="{FF2B5EF4-FFF2-40B4-BE49-F238E27FC236}">
                <a16:creationId xmlns="" xmlns:a16="http://schemas.microsoft.com/office/drawing/2014/main" id="{EFDC2D0E-4FF1-051E-7213-5C133D1A7D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200" y="1830494"/>
            <a:ext cx="11277600" cy="42862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B2C4C198-0E68-BCEF-1AE2-2CD9C883ED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62253" y="149092"/>
            <a:ext cx="2305873" cy="199096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53484D47-F17E-EBCC-7778-26551C4F66B9}"/>
              </a:ext>
            </a:extLst>
          </p:cNvPr>
          <p:cNvSpPr txBox="1"/>
          <p:nvPr/>
        </p:nvSpPr>
        <p:spPr>
          <a:xfrm>
            <a:off x="3874841" y="2140052"/>
            <a:ext cx="293248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H" sz="1200" dirty="0"/>
              <a:t>Example of SOST functions on top of a trace.</a:t>
            </a:r>
          </a:p>
        </p:txBody>
      </p:sp>
    </p:spTree>
    <p:extLst>
      <p:ext uri="{BB962C8B-B14F-4D97-AF65-F5344CB8AC3E}">
        <p14:creationId xmlns:p14="http://schemas.microsoft.com/office/powerpoint/2010/main" val="954587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98F119C4-EFAA-9512-A471-1273E2278617}"/>
              </a:ext>
            </a:extLst>
          </p:cNvPr>
          <p:cNvSpPr txBox="1"/>
          <p:nvPr/>
        </p:nvSpPr>
        <p:spPr>
          <a:xfrm>
            <a:off x="4402706" y="6170871"/>
            <a:ext cx="3388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dirty="0"/>
              <a:t>Initial neural network architecture</a:t>
            </a:r>
            <a:endParaRPr lang="en-CH" dirty="0"/>
          </a:p>
        </p:txBody>
      </p:sp>
      <p:grpSp>
        <p:nvGrpSpPr>
          <p:cNvPr id="277" name="Group 276">
            <a:extLst>
              <a:ext uri="{FF2B5EF4-FFF2-40B4-BE49-F238E27FC236}">
                <a16:creationId xmlns="" xmlns:a16="http://schemas.microsoft.com/office/drawing/2014/main" id="{9062CB4F-EACA-7858-A17C-6EFA7E33E02D}"/>
              </a:ext>
            </a:extLst>
          </p:cNvPr>
          <p:cNvGrpSpPr/>
          <p:nvPr/>
        </p:nvGrpSpPr>
        <p:grpSpPr>
          <a:xfrm>
            <a:off x="-802" y="576775"/>
            <a:ext cx="12192802" cy="5563146"/>
            <a:chOff x="-802" y="576775"/>
            <a:chExt cx="12192802" cy="5563146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" name="TextBox 5">
                  <a:extLst>
                    <a:ext uri="{FF2B5EF4-FFF2-40B4-BE49-F238E27FC236}">
                      <a16:creationId xmlns="" xmlns:a16="http://schemas.microsoft.com/office/drawing/2014/main" id="{87747123-C0C2-9B49-4E69-C9B43CEA834A}"/>
                    </a:ext>
                  </a:extLst>
                </p:cNvPr>
                <p:cNvSpPr txBox="1"/>
                <p:nvPr/>
              </p:nvSpPr>
              <p:spPr>
                <a:xfrm>
                  <a:off x="6017778" y="5686285"/>
                  <a:ext cx="1366183" cy="42787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fr-CH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CH" i="1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sSub>
                              <m:sSubPr>
                                <m:ctrlPr>
                                  <a:rPr lang="fr-CH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H" i="1">
                                    <a:latin typeface="Cambria Math" panose="02040503050406030204" pitchFamily="18" charset="0"/>
                                  </a:rPr>
                                  <m:t>𝑝</m:t>
                                </m:r>
                              </m:e>
                              <m:sub>
                                <m:r>
                                  <a:rPr lang="fr-CH" i="1">
                                    <a:latin typeface="Cambria Math" panose="02040503050406030204" pitchFamily="18" charset="0"/>
                                  </a:rPr>
                                  <m:t>𝑏𝑙𝑜𝑐</m:t>
                                </m:r>
                                <m:sSub>
                                  <m:sSubPr>
                                    <m:ctrlPr>
                                      <a:rPr lang="fr-CH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fr-CH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e>
                                  <m:sub>
                                    <m:r>
                                      <a:rPr lang="fr-CH" b="0" i="1" smtClean="0">
                                        <a:latin typeface="Cambria Math" panose="02040503050406030204" pitchFamily="18" charset="0"/>
                                      </a:rPr>
                                      <m:t>0</m:t>
                                    </m:r>
                                  </m:sub>
                                </m:sSub>
                              </m:sub>
                            </m:sSub>
                          </m:sub>
                        </m:sSub>
                        <m:d>
                          <m:dPr>
                            <m:ctrlPr>
                              <a:rPr lang="fr-CH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r-CH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∙| </m:t>
                            </m:r>
                            <m:r>
                              <a:rPr lang="fr-CH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𝒙</m:t>
                            </m:r>
                          </m:e>
                        </m:d>
                      </m:oMath>
                    </m:oMathPara>
                  </a14:m>
                  <a:endParaRPr lang="en-CH" dirty="0"/>
                </a:p>
              </p:txBody>
            </p:sp>
          </mc:Choice>
          <mc:Fallback xmlns="">
            <p:sp>
              <p:nvSpPr>
                <p:cNvPr id="6" name="TextBox 5">
                  <a:extLst>
                    <a:ext uri="{FF2B5EF4-FFF2-40B4-BE49-F238E27FC236}">
                      <a16:creationId xmlns:a16="http://schemas.microsoft.com/office/drawing/2014/main" id="{87747123-C0C2-9B49-4E69-C9B43CEA834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017778" y="5686285"/>
                  <a:ext cx="1366183" cy="427874"/>
                </a:xfrm>
                <a:prstGeom prst="rect">
                  <a:avLst/>
                </a:prstGeom>
                <a:blipFill>
                  <a:blip r:embed="rId2"/>
                  <a:stretch>
                    <a:fillRect l="-1339"/>
                  </a:stretch>
                </a:blipFill>
              </p:spPr>
              <p:txBody>
                <a:bodyPr/>
                <a:lstStyle/>
                <a:p>
                  <a:r>
                    <a:rPr lang="en-CH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5" name="TextBox 14">
              <a:extLst>
                <a:ext uri="{FF2B5EF4-FFF2-40B4-BE49-F238E27FC236}">
                  <a16:creationId xmlns="" xmlns:a16="http://schemas.microsoft.com/office/drawing/2014/main" id="{3B0A0033-A49A-10C6-ED3A-8BA1CBA0600E}"/>
                </a:ext>
              </a:extLst>
            </p:cNvPr>
            <p:cNvSpPr txBox="1"/>
            <p:nvPr/>
          </p:nvSpPr>
          <p:spPr>
            <a:xfrm>
              <a:off x="9584347" y="2746320"/>
              <a:ext cx="531023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28</a:t>
              </a:r>
              <a:endParaRPr lang="en-CH" sz="1400" dirty="0"/>
            </a:p>
          </p:txBody>
        </p:sp>
        <p:sp>
          <p:nvSpPr>
            <p:cNvPr id="7" name="TextBox 6">
              <a:extLst>
                <a:ext uri="{FF2B5EF4-FFF2-40B4-BE49-F238E27FC236}">
                  <a16:creationId xmlns="" xmlns:a16="http://schemas.microsoft.com/office/drawing/2014/main" id="{606D3238-FBCA-4467-9908-EB501D6FD5F1}"/>
                </a:ext>
              </a:extLst>
            </p:cNvPr>
            <p:cNvSpPr txBox="1"/>
            <p:nvPr/>
          </p:nvSpPr>
          <p:spPr>
            <a:xfrm>
              <a:off x="5177753" y="1273005"/>
              <a:ext cx="1810790" cy="625577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 err="1"/>
                <a:t>ResNet</a:t>
              </a:r>
              <a:endParaRPr lang="fr-CH" dirty="0"/>
            </a:p>
            <a:p>
              <a:pPr algn="ctr"/>
              <a:r>
                <a:rPr lang="fr-CH" dirty="0"/>
                <a:t>9 </a:t>
              </a:r>
              <a:r>
                <a:rPr lang="fr-CH" dirty="0" err="1"/>
                <a:t>residual</a:t>
              </a:r>
              <a:r>
                <a:rPr lang="fr-CH" dirty="0"/>
                <a:t> blocks</a:t>
              </a:r>
              <a:endParaRPr lang="en-CH" dirty="0"/>
            </a:p>
          </p:txBody>
        </p:sp>
        <p:sp>
          <p:nvSpPr>
            <p:cNvPr id="9" name="TextBox 8">
              <a:extLst>
                <a:ext uri="{FF2B5EF4-FFF2-40B4-BE49-F238E27FC236}">
                  <a16:creationId xmlns="" xmlns:a16="http://schemas.microsoft.com/office/drawing/2014/main" id="{91DFD1D3-7007-DA72-55B6-73D7D9CEE989}"/>
                </a:ext>
              </a:extLst>
            </p:cNvPr>
            <p:cNvSpPr txBox="1"/>
            <p:nvPr/>
          </p:nvSpPr>
          <p:spPr>
            <a:xfrm>
              <a:off x="6089956" y="952962"/>
              <a:ext cx="88687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2,150</a:t>
              </a:r>
              <a:endParaRPr lang="en-CH" sz="1400" dirty="0"/>
            </a:p>
          </p:txBody>
        </p:sp>
        <p:sp>
          <p:nvSpPr>
            <p:cNvPr id="11" name="TextBox 10">
              <a:extLst>
                <a:ext uri="{FF2B5EF4-FFF2-40B4-BE49-F238E27FC236}">
                  <a16:creationId xmlns="" xmlns:a16="http://schemas.microsoft.com/office/drawing/2014/main" id="{B5FCBF74-014D-DFF5-F3B2-FACDE941CFB6}"/>
                </a:ext>
              </a:extLst>
            </p:cNvPr>
            <p:cNvSpPr txBox="1"/>
            <p:nvPr/>
          </p:nvSpPr>
          <p:spPr>
            <a:xfrm>
              <a:off x="6093359" y="1914716"/>
              <a:ext cx="63016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3,072</a:t>
              </a:r>
              <a:endParaRPr lang="en-CH" sz="1400" dirty="0"/>
            </a:p>
          </p:txBody>
        </p:sp>
        <p:sp>
          <p:nvSpPr>
            <p:cNvPr id="13" name="TextBox 12">
              <a:extLst>
                <a:ext uri="{FF2B5EF4-FFF2-40B4-BE49-F238E27FC236}">
                  <a16:creationId xmlns="" xmlns:a16="http://schemas.microsoft.com/office/drawing/2014/main" id="{7BDD9E2B-8CEF-1B1A-76AC-7743B7822871}"/>
                </a:ext>
              </a:extLst>
            </p:cNvPr>
            <p:cNvSpPr txBox="1"/>
            <p:nvPr/>
          </p:nvSpPr>
          <p:spPr>
            <a:xfrm>
              <a:off x="3870729" y="576775"/>
              <a:ext cx="4445259" cy="3574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PoIs</a:t>
              </a:r>
              <a:r>
                <a:rPr lang="fr-CH" dirty="0"/>
                <a:t> of 2</a:t>
              </a:r>
              <a:r>
                <a:rPr lang="fr-CH" baseline="30000" dirty="0"/>
                <a:t>nd</a:t>
              </a:r>
              <a:r>
                <a:rPr lang="fr-CH" dirty="0"/>
                <a:t> </a:t>
              </a:r>
              <a:r>
                <a:rPr lang="fr-CH" dirty="0" err="1"/>
                <a:t>order</a:t>
              </a:r>
              <a:r>
                <a:rPr lang="fr-CH" dirty="0"/>
                <a:t> </a:t>
              </a:r>
              <a:r>
                <a:rPr lang="fr-CH" dirty="0" err="1"/>
                <a:t>Haar</a:t>
              </a:r>
              <a:r>
                <a:rPr lang="fr-CH" dirty="0"/>
                <a:t> </a:t>
              </a:r>
              <a:r>
                <a:rPr lang="fr-CH" dirty="0" err="1"/>
                <a:t>transform</a:t>
              </a:r>
              <a:r>
                <a:rPr lang="fr-CH" dirty="0"/>
                <a:t> of </a:t>
              </a:r>
              <a:r>
                <a:rPr lang="fr-CH" dirty="0" err="1"/>
                <a:t>whole</a:t>
              </a:r>
              <a:r>
                <a:rPr lang="fr-CH" dirty="0"/>
                <a:t> trace</a:t>
              </a:r>
              <a:endParaRPr lang="en-CH" dirty="0"/>
            </a:p>
          </p:txBody>
        </p:sp>
        <p:cxnSp>
          <p:nvCxnSpPr>
            <p:cNvPr id="14" name="Straight Arrow Connector 13">
              <a:extLst>
                <a:ext uri="{FF2B5EF4-FFF2-40B4-BE49-F238E27FC236}">
                  <a16:creationId xmlns="" xmlns:a16="http://schemas.microsoft.com/office/drawing/2014/main" id="{25A7C175-E355-07F1-CA67-B0C75430401F}"/>
                </a:ext>
              </a:extLst>
            </p:cNvPr>
            <p:cNvCxnSpPr>
              <a:cxnSpLocks/>
            </p:cNvCxnSpPr>
            <p:nvPr/>
          </p:nvCxnSpPr>
          <p:spPr>
            <a:xfrm>
              <a:off x="6089957" y="952962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="" xmlns:a16="http://schemas.microsoft.com/office/drawing/2014/main" id="{A31D24F8-3571-4B09-729D-196B574190B9}"/>
                </a:ext>
              </a:extLst>
            </p:cNvPr>
            <p:cNvCxnSpPr>
              <a:cxnSpLocks/>
            </p:cNvCxnSpPr>
            <p:nvPr/>
          </p:nvCxnSpPr>
          <p:spPr>
            <a:xfrm>
              <a:off x="6089956" y="1928134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="" xmlns:a16="http://schemas.microsoft.com/office/drawing/2014/main" id="{FAFC4479-ECDD-A45F-0830-06CE69D323BF}"/>
                </a:ext>
              </a:extLst>
            </p:cNvPr>
            <p:cNvSpPr txBox="1"/>
            <p:nvPr/>
          </p:nvSpPr>
          <p:spPr>
            <a:xfrm>
              <a:off x="9667746" y="4745478"/>
              <a:ext cx="364227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6</a:t>
              </a:r>
              <a:endParaRPr lang="en-CH" sz="1400" dirty="0"/>
            </a:p>
          </p:txBody>
        </p:sp>
        <p:cxnSp>
          <p:nvCxnSpPr>
            <p:cNvPr id="20" name="Straight Arrow Connector 19">
              <a:extLst>
                <a:ext uri="{FF2B5EF4-FFF2-40B4-BE49-F238E27FC236}">
                  <a16:creationId xmlns="" xmlns:a16="http://schemas.microsoft.com/office/drawing/2014/main" id="{EF65F0AA-1BEE-6463-E7AF-60EDBE73D9DD}"/>
                </a:ext>
              </a:extLst>
            </p:cNvPr>
            <p:cNvCxnSpPr>
              <a:cxnSpLocks/>
            </p:cNvCxnSpPr>
            <p:nvPr/>
          </p:nvCxnSpPr>
          <p:spPr>
            <a:xfrm>
              <a:off x="9577540" y="2764790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>
              <a:extLst>
                <a:ext uri="{FF2B5EF4-FFF2-40B4-BE49-F238E27FC236}">
                  <a16:creationId xmlns="" xmlns:a16="http://schemas.microsoft.com/office/drawing/2014/main" id="{670B95E5-31A5-92EC-E027-74581C03834E}"/>
                </a:ext>
              </a:extLst>
            </p:cNvPr>
            <p:cNvCxnSpPr>
              <a:cxnSpLocks/>
            </p:cNvCxnSpPr>
            <p:nvPr/>
          </p:nvCxnSpPr>
          <p:spPr>
            <a:xfrm>
              <a:off x="9577540" y="4758995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>
              <a:extLst>
                <a:ext uri="{FF2B5EF4-FFF2-40B4-BE49-F238E27FC236}">
                  <a16:creationId xmlns="" xmlns:a16="http://schemas.microsoft.com/office/drawing/2014/main" id="{3AEC42C0-AAD3-04B1-BF73-11E96C1C9823}"/>
                </a:ext>
              </a:extLst>
            </p:cNvPr>
            <p:cNvSpPr txBox="1"/>
            <p:nvPr/>
          </p:nvSpPr>
          <p:spPr>
            <a:xfrm>
              <a:off x="9116828" y="5029855"/>
              <a:ext cx="921423" cy="357473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Softmax</a:t>
              </a:r>
              <a:endParaRPr lang="en-CH" dirty="0"/>
            </a:p>
          </p:txBody>
        </p:sp>
        <p:cxnSp>
          <p:nvCxnSpPr>
            <p:cNvPr id="34" name="Straight Arrow Connector 33">
              <a:extLst>
                <a:ext uri="{FF2B5EF4-FFF2-40B4-BE49-F238E27FC236}">
                  <a16:creationId xmlns="" xmlns:a16="http://schemas.microsoft.com/office/drawing/2014/main" id="{0E3B7998-EF7B-62DB-5ED8-2FD61913F775}"/>
                </a:ext>
              </a:extLst>
            </p:cNvPr>
            <p:cNvCxnSpPr>
              <a:cxnSpLocks/>
            </p:cNvCxnSpPr>
            <p:nvPr/>
          </p:nvCxnSpPr>
          <p:spPr>
            <a:xfrm>
              <a:off x="9577540" y="5403461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35" name="TextBox 34">
                  <a:extLst>
                    <a:ext uri="{FF2B5EF4-FFF2-40B4-BE49-F238E27FC236}">
                      <a16:creationId xmlns="" xmlns:a16="http://schemas.microsoft.com/office/drawing/2014/main" id="{6675A163-50DF-FEBE-4247-73187479E749}"/>
                    </a:ext>
                  </a:extLst>
                </p:cNvPr>
                <p:cNvSpPr txBox="1"/>
                <p:nvPr/>
              </p:nvSpPr>
              <p:spPr>
                <a:xfrm>
                  <a:off x="8681709" y="5694073"/>
                  <a:ext cx="1810789" cy="44584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fr-CH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CH" i="1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sSubSup>
                              <m:sSubSupPr>
                                <m:ctrlPr>
                                  <a:rPr lang="fr-CH" b="1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r-CH" b="1" i="1">
                                    <a:latin typeface="Cambria Math" panose="02040503050406030204" pitchFamily="18" charset="0"/>
                                  </a:rPr>
                                  <m:t>𝒎</m:t>
                                </m:r>
                              </m:e>
                              <m:sub>
                                <m:r>
                                  <a:rPr lang="fr-CH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  <m:r>
                                  <a:rPr lang="fr-CH" b="1" i="1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fr-CH" b="1" i="1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sub>
                              <m:sup>
                                <m:r>
                                  <a:rPr lang="fr-CH" b="1" i="1">
                                    <a:latin typeface="Cambria Math" panose="02040503050406030204" pitchFamily="18" charset="0"/>
                                  </a:rPr>
                                  <m:t>𝒓𝒐𝒖𝒏𝒅𝒔</m:t>
                                </m:r>
                              </m:sup>
                            </m:sSubSup>
                            <m:r>
                              <a:rPr lang="fr-CH" b="1" i="1">
                                <a:latin typeface="Cambria Math" panose="02040503050406030204" pitchFamily="18" charset="0"/>
                              </a:rPr>
                              <m:t>[</m:t>
                            </m:r>
                            <m:r>
                              <a:rPr lang="fr-CH" b="1" i="1">
                                <a:latin typeface="Cambria Math" panose="02040503050406030204" pitchFamily="18" charset="0"/>
                              </a:rPr>
                              <m:t>𝟎</m:t>
                            </m:r>
                            <m:r>
                              <a:rPr lang="fr-CH" b="1" i="1">
                                <a:latin typeface="Cambria Math" panose="02040503050406030204" pitchFamily="18" charset="0"/>
                              </a:rPr>
                              <m:t>]</m:t>
                            </m:r>
                          </m:sub>
                        </m:sSub>
                        <m:d>
                          <m:dPr>
                            <m:ctrlPr>
                              <a:rPr lang="fr-CH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r-CH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∙| </m:t>
                            </m:r>
                            <m:r>
                              <a:rPr lang="fr-CH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𝒙</m:t>
                            </m:r>
                          </m:e>
                        </m:d>
                      </m:oMath>
                    </m:oMathPara>
                  </a14:m>
                  <a:endParaRPr lang="en-CH" dirty="0"/>
                </a:p>
              </p:txBody>
            </p:sp>
          </mc:Choice>
          <mc:Fallback xmlns=""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6675A163-50DF-FEBE-4247-73187479E74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681709" y="5694073"/>
                  <a:ext cx="1810789" cy="445848"/>
                </a:xfrm>
                <a:prstGeom prst="rect">
                  <a:avLst/>
                </a:prstGeom>
                <a:blipFill>
                  <a:blip r:embed="rId3"/>
                  <a:stretch>
                    <a:fillRect b="-5479"/>
                  </a:stretch>
                </a:blipFill>
              </p:spPr>
              <p:txBody>
                <a:bodyPr/>
                <a:lstStyle/>
                <a:p>
                  <a:r>
                    <a:rPr lang="en-CH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36" name="TextBox 35">
              <a:extLst>
                <a:ext uri="{FF2B5EF4-FFF2-40B4-BE49-F238E27FC236}">
                  <a16:creationId xmlns="" xmlns:a16="http://schemas.microsoft.com/office/drawing/2014/main" id="{608AB722-D982-B9A0-4A0F-C8B0FDB569F9}"/>
                </a:ext>
              </a:extLst>
            </p:cNvPr>
            <p:cNvSpPr txBox="1"/>
            <p:nvPr/>
          </p:nvSpPr>
          <p:spPr>
            <a:xfrm>
              <a:off x="9580943" y="3434008"/>
              <a:ext cx="531023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28</a:t>
              </a:r>
              <a:endParaRPr lang="en-CH" sz="1400" dirty="0"/>
            </a:p>
          </p:txBody>
        </p:sp>
        <p:cxnSp>
          <p:nvCxnSpPr>
            <p:cNvPr id="37" name="Straight Arrow Connector 36">
              <a:extLst>
                <a:ext uri="{FF2B5EF4-FFF2-40B4-BE49-F238E27FC236}">
                  <a16:creationId xmlns="" xmlns:a16="http://schemas.microsoft.com/office/drawing/2014/main" id="{EA03E5A5-36A2-51D3-42C6-1AE40E0883A3}"/>
                </a:ext>
              </a:extLst>
            </p:cNvPr>
            <p:cNvCxnSpPr>
              <a:cxnSpLocks/>
            </p:cNvCxnSpPr>
            <p:nvPr/>
          </p:nvCxnSpPr>
          <p:spPr>
            <a:xfrm>
              <a:off x="9574136" y="3452477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Box 37">
              <a:extLst>
                <a:ext uri="{FF2B5EF4-FFF2-40B4-BE49-F238E27FC236}">
                  <a16:creationId xmlns="" xmlns:a16="http://schemas.microsoft.com/office/drawing/2014/main" id="{91FA9191-E617-C0E7-BBC6-B3A5B24B4A4E}"/>
                </a:ext>
              </a:extLst>
            </p:cNvPr>
            <p:cNvSpPr txBox="1"/>
            <p:nvPr/>
          </p:nvSpPr>
          <p:spPr>
            <a:xfrm>
              <a:off x="9262247" y="3049376"/>
              <a:ext cx="640162" cy="357473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ReLU</a:t>
              </a:r>
              <a:endParaRPr lang="en-CH" dirty="0"/>
            </a:p>
          </p:txBody>
        </p:sp>
        <p:sp>
          <p:nvSpPr>
            <p:cNvPr id="42" name="TextBox 41">
              <a:extLst>
                <a:ext uri="{FF2B5EF4-FFF2-40B4-BE49-F238E27FC236}">
                  <a16:creationId xmlns="" xmlns:a16="http://schemas.microsoft.com/office/drawing/2014/main" id="{45167B58-B46B-420C-289B-0BE76BFC14C8}"/>
                </a:ext>
              </a:extLst>
            </p:cNvPr>
            <p:cNvSpPr txBox="1"/>
            <p:nvPr/>
          </p:nvSpPr>
          <p:spPr>
            <a:xfrm>
              <a:off x="9580943" y="3998814"/>
              <a:ext cx="531023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28</a:t>
              </a:r>
              <a:endParaRPr lang="en-CH" sz="1400" dirty="0"/>
            </a:p>
          </p:txBody>
        </p:sp>
        <p:cxnSp>
          <p:nvCxnSpPr>
            <p:cNvPr id="44" name="Straight Arrow Connector 43">
              <a:extLst>
                <a:ext uri="{FF2B5EF4-FFF2-40B4-BE49-F238E27FC236}">
                  <a16:creationId xmlns="" xmlns:a16="http://schemas.microsoft.com/office/drawing/2014/main" id="{F2503D0D-E77A-E0FE-EDA2-9542FCF25CFD}"/>
                </a:ext>
              </a:extLst>
            </p:cNvPr>
            <p:cNvCxnSpPr>
              <a:cxnSpLocks/>
            </p:cNvCxnSpPr>
            <p:nvPr/>
          </p:nvCxnSpPr>
          <p:spPr>
            <a:xfrm>
              <a:off x="9574136" y="4009783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Box 44">
              <a:extLst>
                <a:ext uri="{FF2B5EF4-FFF2-40B4-BE49-F238E27FC236}">
                  <a16:creationId xmlns="" xmlns:a16="http://schemas.microsoft.com/office/drawing/2014/main" id="{859F1072-B36F-0017-9F4C-DE0C3B9BA0DC}"/>
                </a:ext>
              </a:extLst>
            </p:cNvPr>
            <p:cNvSpPr txBox="1"/>
            <p:nvPr/>
          </p:nvSpPr>
          <p:spPr>
            <a:xfrm>
              <a:off x="9352112" y="3708465"/>
              <a:ext cx="444049" cy="3574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dirty="0"/>
                <a:t>BN</a:t>
              </a:r>
              <a:endParaRPr lang="en-CH" dirty="0"/>
            </a:p>
          </p:txBody>
        </p:sp>
        <p:sp>
          <p:nvSpPr>
            <p:cNvPr id="46" name="TextBox 45">
              <a:extLst>
                <a:ext uri="{FF2B5EF4-FFF2-40B4-BE49-F238E27FC236}">
                  <a16:creationId xmlns="" xmlns:a16="http://schemas.microsoft.com/office/drawing/2014/main" id="{DC255C69-42B5-B8C3-F1D8-25F1722FEB8E}"/>
                </a:ext>
              </a:extLst>
            </p:cNvPr>
            <p:cNvSpPr txBox="1"/>
            <p:nvPr/>
          </p:nvSpPr>
          <p:spPr>
            <a:xfrm>
              <a:off x="9667746" y="5398563"/>
              <a:ext cx="364227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6</a:t>
              </a:r>
              <a:endParaRPr lang="en-CH" sz="1400" dirty="0"/>
            </a:p>
          </p:txBody>
        </p:sp>
        <p:sp>
          <p:nvSpPr>
            <p:cNvPr id="48" name="TextBox 47">
              <a:extLst>
                <a:ext uri="{FF2B5EF4-FFF2-40B4-BE49-F238E27FC236}">
                  <a16:creationId xmlns="" xmlns:a16="http://schemas.microsoft.com/office/drawing/2014/main" id="{98D76F25-7500-A337-F826-33E2A3CA0EF7}"/>
                </a:ext>
              </a:extLst>
            </p:cNvPr>
            <p:cNvSpPr txBox="1"/>
            <p:nvPr/>
          </p:nvSpPr>
          <p:spPr>
            <a:xfrm>
              <a:off x="11290012" y="2746320"/>
              <a:ext cx="531023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28</a:t>
              </a:r>
              <a:endParaRPr lang="en-CH" sz="1400" dirty="0"/>
            </a:p>
          </p:txBody>
        </p:sp>
        <p:sp>
          <p:nvSpPr>
            <p:cNvPr id="49" name="TextBox 48">
              <a:extLst>
                <a:ext uri="{FF2B5EF4-FFF2-40B4-BE49-F238E27FC236}">
                  <a16:creationId xmlns="" xmlns:a16="http://schemas.microsoft.com/office/drawing/2014/main" id="{7FF8DB61-D2D3-E05B-FDF0-5328A08599CB}"/>
                </a:ext>
              </a:extLst>
            </p:cNvPr>
            <p:cNvSpPr txBox="1"/>
            <p:nvPr/>
          </p:nvSpPr>
          <p:spPr>
            <a:xfrm>
              <a:off x="11373410" y="4745478"/>
              <a:ext cx="364227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6</a:t>
              </a:r>
              <a:endParaRPr lang="en-CH" sz="1400" dirty="0"/>
            </a:p>
          </p:txBody>
        </p:sp>
        <p:cxnSp>
          <p:nvCxnSpPr>
            <p:cNvPr id="50" name="Straight Arrow Connector 49">
              <a:extLst>
                <a:ext uri="{FF2B5EF4-FFF2-40B4-BE49-F238E27FC236}">
                  <a16:creationId xmlns="" xmlns:a16="http://schemas.microsoft.com/office/drawing/2014/main" id="{F3B8245B-09B9-23AF-CE1D-3129F416D385}"/>
                </a:ext>
              </a:extLst>
            </p:cNvPr>
            <p:cNvCxnSpPr>
              <a:cxnSpLocks/>
            </p:cNvCxnSpPr>
            <p:nvPr/>
          </p:nvCxnSpPr>
          <p:spPr>
            <a:xfrm>
              <a:off x="11283205" y="2764790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Arrow Connector 50">
              <a:extLst>
                <a:ext uri="{FF2B5EF4-FFF2-40B4-BE49-F238E27FC236}">
                  <a16:creationId xmlns="" xmlns:a16="http://schemas.microsoft.com/office/drawing/2014/main" id="{2CD35325-0BFE-8482-5CA4-6034D17578E2}"/>
                </a:ext>
              </a:extLst>
            </p:cNvPr>
            <p:cNvCxnSpPr>
              <a:cxnSpLocks/>
            </p:cNvCxnSpPr>
            <p:nvPr/>
          </p:nvCxnSpPr>
          <p:spPr>
            <a:xfrm>
              <a:off x="11283205" y="4758995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TextBox 51">
              <a:extLst>
                <a:ext uri="{FF2B5EF4-FFF2-40B4-BE49-F238E27FC236}">
                  <a16:creationId xmlns="" xmlns:a16="http://schemas.microsoft.com/office/drawing/2014/main" id="{D057756A-B184-FD7B-EC8D-AE1528FD10E9}"/>
                </a:ext>
              </a:extLst>
            </p:cNvPr>
            <p:cNvSpPr txBox="1"/>
            <p:nvPr/>
          </p:nvSpPr>
          <p:spPr>
            <a:xfrm>
              <a:off x="10822493" y="5029855"/>
              <a:ext cx="921423" cy="357473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Softmax</a:t>
              </a:r>
              <a:endParaRPr lang="en-CH" dirty="0"/>
            </a:p>
          </p:txBody>
        </p:sp>
        <p:cxnSp>
          <p:nvCxnSpPr>
            <p:cNvPr id="53" name="Straight Arrow Connector 52">
              <a:extLst>
                <a:ext uri="{FF2B5EF4-FFF2-40B4-BE49-F238E27FC236}">
                  <a16:creationId xmlns="" xmlns:a16="http://schemas.microsoft.com/office/drawing/2014/main" id="{FAFF03F4-C668-3D7A-8495-0C773831F678}"/>
                </a:ext>
              </a:extLst>
            </p:cNvPr>
            <p:cNvCxnSpPr>
              <a:cxnSpLocks/>
            </p:cNvCxnSpPr>
            <p:nvPr/>
          </p:nvCxnSpPr>
          <p:spPr>
            <a:xfrm>
              <a:off x="11283205" y="5403461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TextBox 53">
              <a:extLst>
                <a:ext uri="{FF2B5EF4-FFF2-40B4-BE49-F238E27FC236}">
                  <a16:creationId xmlns="" xmlns:a16="http://schemas.microsoft.com/office/drawing/2014/main" id="{84A55F1E-A769-819D-FF6F-FA9C7D87FE93}"/>
                </a:ext>
              </a:extLst>
            </p:cNvPr>
            <p:cNvSpPr txBox="1"/>
            <p:nvPr/>
          </p:nvSpPr>
          <p:spPr>
            <a:xfrm>
              <a:off x="11286608" y="3434008"/>
              <a:ext cx="531023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28</a:t>
              </a:r>
              <a:endParaRPr lang="en-CH" sz="1400" dirty="0"/>
            </a:p>
          </p:txBody>
        </p:sp>
        <p:cxnSp>
          <p:nvCxnSpPr>
            <p:cNvPr id="55" name="Straight Arrow Connector 54">
              <a:extLst>
                <a:ext uri="{FF2B5EF4-FFF2-40B4-BE49-F238E27FC236}">
                  <a16:creationId xmlns="" xmlns:a16="http://schemas.microsoft.com/office/drawing/2014/main" id="{6800995D-47C3-3E8E-6023-7E80BC473129}"/>
                </a:ext>
              </a:extLst>
            </p:cNvPr>
            <p:cNvCxnSpPr>
              <a:cxnSpLocks/>
            </p:cNvCxnSpPr>
            <p:nvPr/>
          </p:nvCxnSpPr>
          <p:spPr>
            <a:xfrm>
              <a:off x="11279801" y="3452477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TextBox 55">
              <a:extLst>
                <a:ext uri="{FF2B5EF4-FFF2-40B4-BE49-F238E27FC236}">
                  <a16:creationId xmlns="" xmlns:a16="http://schemas.microsoft.com/office/drawing/2014/main" id="{AB4AF96A-1DC6-A28A-5259-5029FC0CAD3F}"/>
                </a:ext>
              </a:extLst>
            </p:cNvPr>
            <p:cNvSpPr txBox="1"/>
            <p:nvPr/>
          </p:nvSpPr>
          <p:spPr>
            <a:xfrm>
              <a:off x="10967912" y="3049376"/>
              <a:ext cx="640162" cy="357473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ReLU</a:t>
              </a:r>
              <a:endParaRPr lang="en-CH" dirty="0"/>
            </a:p>
          </p:txBody>
        </p:sp>
        <p:sp>
          <p:nvSpPr>
            <p:cNvPr id="57" name="TextBox 56">
              <a:extLst>
                <a:ext uri="{FF2B5EF4-FFF2-40B4-BE49-F238E27FC236}">
                  <a16:creationId xmlns="" xmlns:a16="http://schemas.microsoft.com/office/drawing/2014/main" id="{562093ED-3B5D-EA2D-F8CB-BA5963097EC6}"/>
                </a:ext>
              </a:extLst>
            </p:cNvPr>
            <p:cNvSpPr txBox="1"/>
            <p:nvPr/>
          </p:nvSpPr>
          <p:spPr>
            <a:xfrm>
              <a:off x="11286608" y="3998814"/>
              <a:ext cx="531023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28</a:t>
              </a:r>
              <a:endParaRPr lang="en-CH" sz="1400" dirty="0"/>
            </a:p>
          </p:txBody>
        </p:sp>
        <p:cxnSp>
          <p:nvCxnSpPr>
            <p:cNvPr id="58" name="Straight Arrow Connector 57">
              <a:extLst>
                <a:ext uri="{FF2B5EF4-FFF2-40B4-BE49-F238E27FC236}">
                  <a16:creationId xmlns="" xmlns:a16="http://schemas.microsoft.com/office/drawing/2014/main" id="{4539D391-4625-1B2C-26DB-F4B75C4DD9C0}"/>
                </a:ext>
              </a:extLst>
            </p:cNvPr>
            <p:cNvCxnSpPr>
              <a:cxnSpLocks/>
            </p:cNvCxnSpPr>
            <p:nvPr/>
          </p:nvCxnSpPr>
          <p:spPr>
            <a:xfrm>
              <a:off x="11279801" y="4009783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Box 58">
              <a:extLst>
                <a:ext uri="{FF2B5EF4-FFF2-40B4-BE49-F238E27FC236}">
                  <a16:creationId xmlns="" xmlns:a16="http://schemas.microsoft.com/office/drawing/2014/main" id="{42E8680E-477E-3117-6767-FA6CEEDA8FEA}"/>
                </a:ext>
              </a:extLst>
            </p:cNvPr>
            <p:cNvSpPr txBox="1"/>
            <p:nvPr/>
          </p:nvSpPr>
          <p:spPr>
            <a:xfrm>
              <a:off x="11057776" y="3708465"/>
              <a:ext cx="444049" cy="3574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dirty="0"/>
                <a:t>BN</a:t>
              </a:r>
              <a:endParaRPr lang="en-CH" dirty="0"/>
            </a:p>
          </p:txBody>
        </p:sp>
        <p:sp>
          <p:nvSpPr>
            <p:cNvPr id="60" name="TextBox 59">
              <a:extLst>
                <a:ext uri="{FF2B5EF4-FFF2-40B4-BE49-F238E27FC236}">
                  <a16:creationId xmlns="" xmlns:a16="http://schemas.microsoft.com/office/drawing/2014/main" id="{C1C1D684-C32B-CB52-F4DD-C0591AB28F37}"/>
                </a:ext>
              </a:extLst>
            </p:cNvPr>
            <p:cNvSpPr txBox="1"/>
            <p:nvPr/>
          </p:nvSpPr>
          <p:spPr>
            <a:xfrm>
              <a:off x="11373410" y="5398563"/>
              <a:ext cx="364227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6</a:t>
              </a:r>
              <a:endParaRPr lang="en-CH" sz="1400" dirty="0"/>
            </a:p>
          </p:txBody>
        </p:sp>
        <p:sp>
          <p:nvSpPr>
            <p:cNvPr id="61" name="TextBox 60">
              <a:extLst>
                <a:ext uri="{FF2B5EF4-FFF2-40B4-BE49-F238E27FC236}">
                  <a16:creationId xmlns="" xmlns:a16="http://schemas.microsoft.com/office/drawing/2014/main" id="{B9EA1781-9CA9-D9D9-BF16-E91AC81793FC}"/>
                </a:ext>
              </a:extLst>
            </p:cNvPr>
            <p:cNvSpPr txBox="1"/>
            <p:nvPr/>
          </p:nvSpPr>
          <p:spPr>
            <a:xfrm>
              <a:off x="9191847" y="2404578"/>
              <a:ext cx="776572" cy="357473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="" xmlns:a16="http://schemas.microsoft.com/office/drawing/2014/main" id="{2C07CEB7-2A01-A05D-4B1A-ABC426F50849}"/>
                </a:ext>
              </a:extLst>
            </p:cNvPr>
            <p:cNvSpPr txBox="1"/>
            <p:nvPr/>
          </p:nvSpPr>
          <p:spPr>
            <a:xfrm>
              <a:off x="10905453" y="2404578"/>
              <a:ext cx="776572" cy="357473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="" xmlns:a16="http://schemas.microsoft.com/office/drawing/2014/main" id="{3F23108B-78C1-EC24-DD46-B49C8C331EEF}"/>
                </a:ext>
              </a:extLst>
            </p:cNvPr>
            <p:cNvSpPr txBox="1"/>
            <p:nvPr/>
          </p:nvSpPr>
          <p:spPr>
            <a:xfrm>
              <a:off x="9198817" y="4346760"/>
              <a:ext cx="776572" cy="357473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="" xmlns:a16="http://schemas.microsoft.com/office/drawing/2014/main" id="{772F6221-FA3B-285B-68DE-83B2B5471735}"/>
                </a:ext>
              </a:extLst>
            </p:cNvPr>
            <p:cNvSpPr txBox="1"/>
            <p:nvPr/>
          </p:nvSpPr>
          <p:spPr>
            <a:xfrm>
              <a:off x="10898321" y="4346760"/>
              <a:ext cx="776572" cy="357473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5" name="TextBox 64">
                  <a:extLst>
                    <a:ext uri="{FF2B5EF4-FFF2-40B4-BE49-F238E27FC236}">
                      <a16:creationId xmlns="" xmlns:a16="http://schemas.microsoft.com/office/drawing/2014/main" id="{1067698C-40C3-64FA-DFD0-BC6DE2D40953}"/>
                    </a:ext>
                  </a:extLst>
                </p:cNvPr>
                <p:cNvSpPr txBox="1"/>
                <p:nvPr/>
              </p:nvSpPr>
              <p:spPr>
                <a:xfrm>
                  <a:off x="10381211" y="5694073"/>
                  <a:ext cx="1810789" cy="44584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fr-CH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CH" i="1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sSubSup>
                              <m:sSubSupPr>
                                <m:ctrlPr>
                                  <a:rPr lang="fr-CH" b="1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r-CH" b="1" i="1">
                                    <a:latin typeface="Cambria Math" panose="02040503050406030204" pitchFamily="18" charset="0"/>
                                  </a:rPr>
                                  <m:t>𝒎</m:t>
                                </m:r>
                              </m:e>
                              <m:sub>
                                <m:r>
                                  <a:rPr lang="fr-CH" b="1" i="1" smtClean="0">
                                    <a:latin typeface="Cambria Math" panose="02040503050406030204" pitchFamily="18" charset="0"/>
                                  </a:rPr>
                                  <m:t>𝟏𝟑</m:t>
                                </m:r>
                                <m:r>
                                  <a:rPr lang="fr-CH" b="1" i="1">
                                    <a:latin typeface="Cambria Math" panose="02040503050406030204" pitchFamily="18" charset="0"/>
                                  </a:rPr>
                                  <m:t>,</m:t>
                                </m:r>
                                <m:r>
                                  <a:rPr lang="fr-CH" b="1" i="1">
                                    <a:latin typeface="Cambria Math" panose="02040503050406030204" pitchFamily="18" charset="0"/>
                                  </a:rPr>
                                  <m:t>𝟔</m:t>
                                </m:r>
                              </m:sub>
                              <m:sup>
                                <m:r>
                                  <a:rPr lang="fr-CH" b="1" i="1">
                                    <a:latin typeface="Cambria Math" panose="02040503050406030204" pitchFamily="18" charset="0"/>
                                  </a:rPr>
                                  <m:t>𝒓𝒐𝒖𝒏𝒅𝒔</m:t>
                                </m:r>
                              </m:sup>
                            </m:sSubSup>
                            <m:r>
                              <a:rPr lang="fr-CH" b="1" i="1">
                                <a:latin typeface="Cambria Math" panose="02040503050406030204" pitchFamily="18" charset="0"/>
                              </a:rPr>
                              <m:t>[</m:t>
                            </m:r>
                            <m:r>
                              <a:rPr lang="fr-CH" b="1" i="1">
                                <a:latin typeface="Cambria Math" panose="02040503050406030204" pitchFamily="18" charset="0"/>
                              </a:rPr>
                              <m:t>𝟏</m:t>
                            </m:r>
                            <m:r>
                              <a:rPr lang="fr-CH" b="1" i="1">
                                <a:latin typeface="Cambria Math" panose="02040503050406030204" pitchFamily="18" charset="0"/>
                              </a:rPr>
                              <m:t>]</m:t>
                            </m:r>
                          </m:sub>
                        </m:sSub>
                        <m:d>
                          <m:dPr>
                            <m:ctrlPr>
                              <a:rPr lang="fr-CH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r-CH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∙| </m:t>
                            </m:r>
                            <m:r>
                              <a:rPr lang="fr-CH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𝒙</m:t>
                            </m:r>
                          </m:e>
                        </m:d>
                      </m:oMath>
                    </m:oMathPara>
                  </a14:m>
                  <a:endParaRPr lang="en-CH" dirty="0"/>
                </a:p>
              </p:txBody>
            </p:sp>
          </mc:Choice>
          <mc:Fallback xmlns="">
            <p:sp>
              <p:nvSpPr>
                <p:cNvPr id="65" name="TextBox 64">
                  <a:extLst>
                    <a:ext uri="{FF2B5EF4-FFF2-40B4-BE49-F238E27FC236}">
                      <a16:creationId xmlns:a16="http://schemas.microsoft.com/office/drawing/2014/main" id="{1067698C-40C3-64FA-DFD0-BC6DE2D4095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381211" y="5694073"/>
                  <a:ext cx="1810789" cy="445848"/>
                </a:xfrm>
                <a:prstGeom prst="rect">
                  <a:avLst/>
                </a:prstGeom>
                <a:blipFill>
                  <a:blip r:embed="rId4"/>
                  <a:stretch>
                    <a:fillRect b="-5479"/>
                  </a:stretch>
                </a:blipFill>
              </p:spPr>
              <p:txBody>
                <a:bodyPr/>
                <a:lstStyle/>
                <a:p>
                  <a:r>
                    <a:rPr lang="en-CH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66" name="TextBox 65">
              <a:extLst>
                <a:ext uri="{FF2B5EF4-FFF2-40B4-BE49-F238E27FC236}">
                  <a16:creationId xmlns="" xmlns:a16="http://schemas.microsoft.com/office/drawing/2014/main" id="{C4286D4B-CC2E-4533-50B9-3BDF630B1FE3}"/>
                </a:ext>
              </a:extLst>
            </p:cNvPr>
            <p:cNvSpPr txBox="1"/>
            <p:nvPr/>
          </p:nvSpPr>
          <p:spPr>
            <a:xfrm>
              <a:off x="10143892" y="3515702"/>
              <a:ext cx="616268" cy="7447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sz="4400" b="1" dirty="0"/>
                <a:t>···</a:t>
              </a:r>
              <a:endParaRPr lang="en-CH" sz="4400" b="1" dirty="0"/>
            </a:p>
          </p:txBody>
        </p:sp>
        <p:sp>
          <p:nvSpPr>
            <p:cNvPr id="67" name="TextBox 66">
              <a:extLst>
                <a:ext uri="{FF2B5EF4-FFF2-40B4-BE49-F238E27FC236}">
                  <a16:creationId xmlns="" xmlns:a16="http://schemas.microsoft.com/office/drawing/2014/main" id="{52F060EC-60B3-2DE3-BFEF-BB76B6759AA0}"/>
                </a:ext>
              </a:extLst>
            </p:cNvPr>
            <p:cNvSpPr txBox="1"/>
            <p:nvPr/>
          </p:nvSpPr>
          <p:spPr>
            <a:xfrm>
              <a:off x="6704622" y="2746320"/>
              <a:ext cx="531023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512</a:t>
              </a:r>
              <a:endParaRPr lang="en-CH" sz="1400" dirty="0"/>
            </a:p>
          </p:txBody>
        </p:sp>
        <p:sp>
          <p:nvSpPr>
            <p:cNvPr id="68" name="TextBox 67">
              <a:extLst>
                <a:ext uri="{FF2B5EF4-FFF2-40B4-BE49-F238E27FC236}">
                  <a16:creationId xmlns="" xmlns:a16="http://schemas.microsoft.com/office/drawing/2014/main" id="{D24E91A2-693B-ABA2-2FEF-1EC89C0D95E2}"/>
                </a:ext>
              </a:extLst>
            </p:cNvPr>
            <p:cNvSpPr txBox="1"/>
            <p:nvPr/>
          </p:nvSpPr>
          <p:spPr>
            <a:xfrm>
              <a:off x="6788021" y="4745478"/>
              <a:ext cx="364227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7</a:t>
              </a:r>
              <a:endParaRPr lang="en-CH" sz="1400" dirty="0"/>
            </a:p>
          </p:txBody>
        </p:sp>
        <p:cxnSp>
          <p:nvCxnSpPr>
            <p:cNvPr id="69" name="Straight Arrow Connector 68">
              <a:extLst>
                <a:ext uri="{FF2B5EF4-FFF2-40B4-BE49-F238E27FC236}">
                  <a16:creationId xmlns="" xmlns:a16="http://schemas.microsoft.com/office/drawing/2014/main" id="{FA421E76-95B2-01BB-E9D1-CE0AE13F6FE0}"/>
                </a:ext>
              </a:extLst>
            </p:cNvPr>
            <p:cNvCxnSpPr>
              <a:cxnSpLocks/>
            </p:cNvCxnSpPr>
            <p:nvPr/>
          </p:nvCxnSpPr>
          <p:spPr>
            <a:xfrm>
              <a:off x="6697816" y="2764790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Arrow Connector 69">
              <a:extLst>
                <a:ext uri="{FF2B5EF4-FFF2-40B4-BE49-F238E27FC236}">
                  <a16:creationId xmlns="" xmlns:a16="http://schemas.microsoft.com/office/drawing/2014/main" id="{4185799C-B24C-E2A5-09D3-3AF87B5CE02B}"/>
                </a:ext>
              </a:extLst>
            </p:cNvPr>
            <p:cNvCxnSpPr>
              <a:cxnSpLocks/>
            </p:cNvCxnSpPr>
            <p:nvPr/>
          </p:nvCxnSpPr>
          <p:spPr>
            <a:xfrm>
              <a:off x="6697816" y="4758996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TextBox 70">
              <a:extLst>
                <a:ext uri="{FF2B5EF4-FFF2-40B4-BE49-F238E27FC236}">
                  <a16:creationId xmlns="" xmlns:a16="http://schemas.microsoft.com/office/drawing/2014/main" id="{4754534A-2B3A-683E-06C2-3398A34A87EE}"/>
                </a:ext>
              </a:extLst>
            </p:cNvPr>
            <p:cNvSpPr txBox="1"/>
            <p:nvPr/>
          </p:nvSpPr>
          <p:spPr>
            <a:xfrm>
              <a:off x="6237104" y="5029855"/>
              <a:ext cx="921423" cy="357473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Softmax</a:t>
              </a:r>
              <a:endParaRPr lang="en-CH" dirty="0"/>
            </a:p>
          </p:txBody>
        </p:sp>
        <p:cxnSp>
          <p:nvCxnSpPr>
            <p:cNvPr id="76" name="Straight Arrow Connector 75">
              <a:extLst>
                <a:ext uri="{FF2B5EF4-FFF2-40B4-BE49-F238E27FC236}">
                  <a16:creationId xmlns="" xmlns:a16="http://schemas.microsoft.com/office/drawing/2014/main" id="{876C5AC8-8FE8-BBB6-66D5-D8D84FAB0876}"/>
                </a:ext>
              </a:extLst>
            </p:cNvPr>
            <p:cNvCxnSpPr>
              <a:cxnSpLocks/>
            </p:cNvCxnSpPr>
            <p:nvPr/>
          </p:nvCxnSpPr>
          <p:spPr>
            <a:xfrm>
              <a:off x="6697816" y="5403461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Box 78">
              <a:extLst>
                <a:ext uri="{FF2B5EF4-FFF2-40B4-BE49-F238E27FC236}">
                  <a16:creationId xmlns="" xmlns:a16="http://schemas.microsoft.com/office/drawing/2014/main" id="{5CCACBC5-7F17-9F3A-B643-01FDF72F56D0}"/>
                </a:ext>
              </a:extLst>
            </p:cNvPr>
            <p:cNvSpPr txBox="1"/>
            <p:nvPr/>
          </p:nvSpPr>
          <p:spPr>
            <a:xfrm>
              <a:off x="6701219" y="3434008"/>
              <a:ext cx="531023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512</a:t>
              </a:r>
              <a:endParaRPr lang="en-CH" sz="1400" dirty="0"/>
            </a:p>
          </p:txBody>
        </p:sp>
        <p:cxnSp>
          <p:nvCxnSpPr>
            <p:cNvPr id="89" name="Straight Arrow Connector 88">
              <a:extLst>
                <a:ext uri="{FF2B5EF4-FFF2-40B4-BE49-F238E27FC236}">
                  <a16:creationId xmlns="" xmlns:a16="http://schemas.microsoft.com/office/drawing/2014/main" id="{036AA242-EF32-0D22-E5AA-57EEB78BE89B}"/>
                </a:ext>
              </a:extLst>
            </p:cNvPr>
            <p:cNvCxnSpPr>
              <a:cxnSpLocks/>
            </p:cNvCxnSpPr>
            <p:nvPr/>
          </p:nvCxnSpPr>
          <p:spPr>
            <a:xfrm>
              <a:off x="6694412" y="3452477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TextBox 93">
              <a:extLst>
                <a:ext uri="{FF2B5EF4-FFF2-40B4-BE49-F238E27FC236}">
                  <a16:creationId xmlns="" xmlns:a16="http://schemas.microsoft.com/office/drawing/2014/main" id="{00FC4667-57A8-82EE-982D-292E0592A1D3}"/>
                </a:ext>
              </a:extLst>
            </p:cNvPr>
            <p:cNvSpPr txBox="1"/>
            <p:nvPr/>
          </p:nvSpPr>
          <p:spPr>
            <a:xfrm>
              <a:off x="6382523" y="3049376"/>
              <a:ext cx="640162" cy="357473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ReLU</a:t>
              </a:r>
              <a:endParaRPr lang="en-CH" dirty="0"/>
            </a:p>
          </p:txBody>
        </p:sp>
        <p:sp>
          <p:nvSpPr>
            <p:cNvPr id="96" name="TextBox 95">
              <a:extLst>
                <a:ext uri="{FF2B5EF4-FFF2-40B4-BE49-F238E27FC236}">
                  <a16:creationId xmlns="" xmlns:a16="http://schemas.microsoft.com/office/drawing/2014/main" id="{A73E0C95-8977-E3A3-77DE-C7DEBAEFD3F5}"/>
                </a:ext>
              </a:extLst>
            </p:cNvPr>
            <p:cNvSpPr txBox="1"/>
            <p:nvPr/>
          </p:nvSpPr>
          <p:spPr>
            <a:xfrm>
              <a:off x="6701219" y="3998814"/>
              <a:ext cx="531023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512</a:t>
              </a:r>
              <a:endParaRPr lang="en-CH" sz="1400" dirty="0"/>
            </a:p>
          </p:txBody>
        </p:sp>
        <p:cxnSp>
          <p:nvCxnSpPr>
            <p:cNvPr id="98" name="Straight Arrow Connector 97">
              <a:extLst>
                <a:ext uri="{FF2B5EF4-FFF2-40B4-BE49-F238E27FC236}">
                  <a16:creationId xmlns="" xmlns:a16="http://schemas.microsoft.com/office/drawing/2014/main" id="{A0374BEC-C6F9-08CA-6137-4CC44B817DCD}"/>
                </a:ext>
              </a:extLst>
            </p:cNvPr>
            <p:cNvCxnSpPr>
              <a:cxnSpLocks/>
            </p:cNvCxnSpPr>
            <p:nvPr/>
          </p:nvCxnSpPr>
          <p:spPr>
            <a:xfrm>
              <a:off x="6694412" y="4009783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TextBox 98">
              <a:extLst>
                <a:ext uri="{FF2B5EF4-FFF2-40B4-BE49-F238E27FC236}">
                  <a16:creationId xmlns="" xmlns:a16="http://schemas.microsoft.com/office/drawing/2014/main" id="{0D108569-D4F6-9880-F052-556FB9E2C096}"/>
                </a:ext>
              </a:extLst>
            </p:cNvPr>
            <p:cNvSpPr txBox="1"/>
            <p:nvPr/>
          </p:nvSpPr>
          <p:spPr>
            <a:xfrm>
              <a:off x="6472388" y="3708465"/>
              <a:ext cx="444049" cy="3574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dirty="0"/>
                <a:t>BN</a:t>
              </a:r>
              <a:endParaRPr lang="en-CH" dirty="0"/>
            </a:p>
          </p:txBody>
        </p:sp>
        <p:sp>
          <p:nvSpPr>
            <p:cNvPr id="100" name="TextBox 99">
              <a:extLst>
                <a:ext uri="{FF2B5EF4-FFF2-40B4-BE49-F238E27FC236}">
                  <a16:creationId xmlns="" xmlns:a16="http://schemas.microsoft.com/office/drawing/2014/main" id="{9F4FCA40-36D9-A422-1467-CFC801DA1356}"/>
                </a:ext>
              </a:extLst>
            </p:cNvPr>
            <p:cNvSpPr txBox="1"/>
            <p:nvPr/>
          </p:nvSpPr>
          <p:spPr>
            <a:xfrm>
              <a:off x="6788021" y="5398563"/>
              <a:ext cx="364227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7</a:t>
              </a:r>
              <a:endParaRPr lang="en-CH" sz="1400" dirty="0"/>
            </a:p>
          </p:txBody>
        </p:sp>
        <p:sp>
          <p:nvSpPr>
            <p:cNvPr id="106" name="TextBox 105">
              <a:extLst>
                <a:ext uri="{FF2B5EF4-FFF2-40B4-BE49-F238E27FC236}">
                  <a16:creationId xmlns="" xmlns:a16="http://schemas.microsoft.com/office/drawing/2014/main" id="{9F1525A9-CAF2-90A8-9F43-65E607FA9B99}"/>
                </a:ext>
              </a:extLst>
            </p:cNvPr>
            <p:cNvSpPr txBox="1"/>
            <p:nvPr/>
          </p:nvSpPr>
          <p:spPr>
            <a:xfrm>
              <a:off x="6312123" y="2404578"/>
              <a:ext cx="776572" cy="357473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="" xmlns:a16="http://schemas.microsoft.com/office/drawing/2014/main" id="{F22EE94A-3873-CA72-E029-83E4F4BDE404}"/>
                </a:ext>
              </a:extLst>
            </p:cNvPr>
            <p:cNvSpPr txBox="1"/>
            <p:nvPr/>
          </p:nvSpPr>
          <p:spPr>
            <a:xfrm>
              <a:off x="6319093" y="4346760"/>
              <a:ext cx="776572" cy="357473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p:cxnSp>
          <p:nvCxnSpPr>
            <p:cNvPr id="108" name="Straight Arrow Connector 107">
              <a:extLst>
                <a:ext uri="{FF2B5EF4-FFF2-40B4-BE49-F238E27FC236}">
                  <a16:creationId xmlns="" xmlns:a16="http://schemas.microsoft.com/office/drawing/2014/main" id="{4FDB3CE6-A67D-DD30-8E03-C1E69169B535}"/>
                </a:ext>
              </a:extLst>
            </p:cNvPr>
            <p:cNvCxnSpPr>
              <a:cxnSpLocks/>
              <a:endCxn id="106" idx="0"/>
            </p:cNvCxnSpPr>
            <p:nvPr/>
          </p:nvCxnSpPr>
          <p:spPr>
            <a:xfrm>
              <a:off x="6089955" y="2200198"/>
              <a:ext cx="610454" cy="20438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Arrow Connector 108">
              <a:extLst>
                <a:ext uri="{FF2B5EF4-FFF2-40B4-BE49-F238E27FC236}">
                  <a16:creationId xmlns="" xmlns:a16="http://schemas.microsoft.com/office/drawing/2014/main" id="{F83B72F3-8687-A66C-335F-38417435490A}"/>
                </a:ext>
              </a:extLst>
            </p:cNvPr>
            <p:cNvCxnSpPr>
              <a:cxnSpLocks/>
              <a:endCxn id="61" idx="0"/>
            </p:cNvCxnSpPr>
            <p:nvPr/>
          </p:nvCxnSpPr>
          <p:spPr>
            <a:xfrm>
              <a:off x="6089956" y="2192840"/>
              <a:ext cx="3490177" cy="211738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Arrow Connector 109">
              <a:extLst>
                <a:ext uri="{FF2B5EF4-FFF2-40B4-BE49-F238E27FC236}">
                  <a16:creationId xmlns="" xmlns:a16="http://schemas.microsoft.com/office/drawing/2014/main" id="{4B93C6B1-30DB-04C5-3D6D-E4AC4D2CFC55}"/>
                </a:ext>
              </a:extLst>
            </p:cNvPr>
            <p:cNvCxnSpPr>
              <a:cxnSpLocks/>
              <a:endCxn id="62" idx="0"/>
            </p:cNvCxnSpPr>
            <p:nvPr/>
          </p:nvCxnSpPr>
          <p:spPr>
            <a:xfrm>
              <a:off x="6083148" y="2197539"/>
              <a:ext cx="5210591" cy="207039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extBox 110">
              <a:extLst>
                <a:ext uri="{FF2B5EF4-FFF2-40B4-BE49-F238E27FC236}">
                  <a16:creationId xmlns="" xmlns:a16="http://schemas.microsoft.com/office/drawing/2014/main" id="{5397E806-8954-D92E-46A7-E8F0D6F39E25}"/>
                </a:ext>
              </a:extLst>
            </p:cNvPr>
            <p:cNvSpPr txBox="1"/>
            <p:nvPr/>
          </p:nvSpPr>
          <p:spPr>
            <a:xfrm>
              <a:off x="10228630" y="3572338"/>
              <a:ext cx="45878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sz="1400" dirty="0"/>
                <a:t>196</a:t>
              </a:r>
              <a:endParaRPr lang="en-CH" sz="1400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12" name="TextBox 111">
                  <a:extLst>
                    <a:ext uri="{FF2B5EF4-FFF2-40B4-BE49-F238E27FC236}">
                      <a16:creationId xmlns="" xmlns:a16="http://schemas.microsoft.com/office/drawing/2014/main" id="{7E51E6D2-38CF-BBCC-5309-5A62AB2E7E53}"/>
                    </a:ext>
                  </a:extLst>
                </p:cNvPr>
                <p:cNvSpPr txBox="1"/>
                <p:nvPr/>
              </p:nvSpPr>
              <p:spPr>
                <a:xfrm>
                  <a:off x="7354902" y="5686285"/>
                  <a:ext cx="1451039" cy="42569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fr-CH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CH" i="1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sSub>
                              <m:sSubPr>
                                <m:ctrlPr>
                                  <a:rPr lang="fr-CH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H" i="1">
                                    <a:latin typeface="Cambria Math" panose="02040503050406030204" pitchFamily="18" charset="0"/>
                                  </a:rPr>
                                  <m:t>𝑝</m:t>
                                </m:r>
                              </m:e>
                              <m:sub>
                                <m:r>
                                  <a:rPr lang="fr-CH" i="1">
                                    <a:latin typeface="Cambria Math" panose="02040503050406030204" pitchFamily="18" charset="0"/>
                                  </a:rPr>
                                  <m:t>𝑏𝑙𝑜𝑐</m:t>
                                </m:r>
                                <m:sSub>
                                  <m:sSubPr>
                                    <m:ctrlPr>
                                      <a:rPr lang="fr-CH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fr-CH" i="1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e>
                                  <m:sub>
                                    <m:r>
                                      <a:rPr lang="fr-CH" b="0" i="1" smtClean="0">
                                        <a:latin typeface="Cambria Math" panose="02040503050406030204" pitchFamily="18" charset="0"/>
                                      </a:rPr>
                                      <m:t>13</m:t>
                                    </m:r>
                                  </m:sub>
                                </m:sSub>
                              </m:sub>
                            </m:sSub>
                          </m:sub>
                        </m:sSub>
                        <m:d>
                          <m:dPr>
                            <m:ctrlPr>
                              <a:rPr lang="fr-CH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r-CH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∙| </m:t>
                            </m:r>
                            <m:r>
                              <a:rPr lang="fr-CH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𝒙</m:t>
                            </m:r>
                          </m:e>
                        </m:d>
                      </m:oMath>
                    </m:oMathPara>
                  </a14:m>
                  <a:endParaRPr lang="en-CH" dirty="0"/>
                </a:p>
              </p:txBody>
            </p:sp>
          </mc:Choice>
          <mc:Fallback xmlns="">
            <p:sp>
              <p:nvSpPr>
                <p:cNvPr id="112" name="TextBox 111">
                  <a:extLst>
                    <a:ext uri="{FF2B5EF4-FFF2-40B4-BE49-F238E27FC236}">
                      <a16:creationId xmlns:a16="http://schemas.microsoft.com/office/drawing/2014/main" id="{7E51E6D2-38CF-BBCC-5309-5A62AB2E7E5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354902" y="5686285"/>
                  <a:ext cx="1451039" cy="425694"/>
                </a:xfrm>
                <a:prstGeom prst="rect">
                  <a:avLst/>
                </a:prstGeom>
                <a:blipFill>
                  <a:blip r:embed="rId5"/>
                  <a:stretch>
                    <a:fillRect l="-1261"/>
                  </a:stretch>
                </a:blipFill>
              </p:spPr>
              <p:txBody>
                <a:bodyPr/>
                <a:lstStyle/>
                <a:p>
                  <a:r>
                    <a:rPr lang="en-CH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13" name="TextBox 112">
              <a:extLst>
                <a:ext uri="{FF2B5EF4-FFF2-40B4-BE49-F238E27FC236}">
                  <a16:creationId xmlns="" xmlns:a16="http://schemas.microsoft.com/office/drawing/2014/main" id="{51779486-56DC-6DB4-1152-D72BDD509146}"/>
                </a:ext>
              </a:extLst>
            </p:cNvPr>
            <p:cNvSpPr txBox="1"/>
            <p:nvPr/>
          </p:nvSpPr>
          <p:spPr>
            <a:xfrm>
              <a:off x="8081823" y="2746320"/>
              <a:ext cx="531023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512</a:t>
              </a:r>
              <a:endParaRPr lang="en-CH" sz="1400" dirty="0"/>
            </a:p>
          </p:txBody>
        </p:sp>
        <p:sp>
          <p:nvSpPr>
            <p:cNvPr id="114" name="TextBox 113">
              <a:extLst>
                <a:ext uri="{FF2B5EF4-FFF2-40B4-BE49-F238E27FC236}">
                  <a16:creationId xmlns="" xmlns:a16="http://schemas.microsoft.com/office/drawing/2014/main" id="{05CF62EA-4BB0-E72D-C868-CA7699087B5E}"/>
                </a:ext>
              </a:extLst>
            </p:cNvPr>
            <p:cNvSpPr txBox="1"/>
            <p:nvPr/>
          </p:nvSpPr>
          <p:spPr>
            <a:xfrm>
              <a:off x="8165222" y="4745478"/>
              <a:ext cx="364227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7</a:t>
              </a:r>
              <a:endParaRPr lang="en-CH" sz="1400" dirty="0"/>
            </a:p>
          </p:txBody>
        </p:sp>
        <p:cxnSp>
          <p:nvCxnSpPr>
            <p:cNvPr id="115" name="Straight Arrow Connector 114">
              <a:extLst>
                <a:ext uri="{FF2B5EF4-FFF2-40B4-BE49-F238E27FC236}">
                  <a16:creationId xmlns="" xmlns:a16="http://schemas.microsoft.com/office/drawing/2014/main" id="{1B73A163-BD86-6DFC-A1D0-DA69BACFFD4C}"/>
                </a:ext>
              </a:extLst>
            </p:cNvPr>
            <p:cNvCxnSpPr>
              <a:cxnSpLocks/>
            </p:cNvCxnSpPr>
            <p:nvPr/>
          </p:nvCxnSpPr>
          <p:spPr>
            <a:xfrm>
              <a:off x="8075016" y="2764790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Arrow Connector 115">
              <a:extLst>
                <a:ext uri="{FF2B5EF4-FFF2-40B4-BE49-F238E27FC236}">
                  <a16:creationId xmlns="" xmlns:a16="http://schemas.microsoft.com/office/drawing/2014/main" id="{DDA38A06-A36B-A687-FA3E-E8776606FFF3}"/>
                </a:ext>
              </a:extLst>
            </p:cNvPr>
            <p:cNvCxnSpPr>
              <a:cxnSpLocks/>
            </p:cNvCxnSpPr>
            <p:nvPr/>
          </p:nvCxnSpPr>
          <p:spPr>
            <a:xfrm>
              <a:off x="8075016" y="4758996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Box 116">
              <a:extLst>
                <a:ext uri="{FF2B5EF4-FFF2-40B4-BE49-F238E27FC236}">
                  <a16:creationId xmlns="" xmlns:a16="http://schemas.microsoft.com/office/drawing/2014/main" id="{C24B1204-B1B1-782D-F676-6354F3E97AFC}"/>
                </a:ext>
              </a:extLst>
            </p:cNvPr>
            <p:cNvSpPr txBox="1"/>
            <p:nvPr/>
          </p:nvSpPr>
          <p:spPr>
            <a:xfrm>
              <a:off x="7614304" y="5029855"/>
              <a:ext cx="921423" cy="357473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Softmax</a:t>
              </a:r>
              <a:endParaRPr lang="en-CH" dirty="0"/>
            </a:p>
          </p:txBody>
        </p:sp>
        <p:cxnSp>
          <p:nvCxnSpPr>
            <p:cNvPr id="118" name="Straight Arrow Connector 117">
              <a:extLst>
                <a:ext uri="{FF2B5EF4-FFF2-40B4-BE49-F238E27FC236}">
                  <a16:creationId xmlns="" xmlns:a16="http://schemas.microsoft.com/office/drawing/2014/main" id="{B74F7984-D9B1-3EC8-61FB-49A7E7CD9963}"/>
                </a:ext>
              </a:extLst>
            </p:cNvPr>
            <p:cNvCxnSpPr>
              <a:cxnSpLocks/>
            </p:cNvCxnSpPr>
            <p:nvPr/>
          </p:nvCxnSpPr>
          <p:spPr>
            <a:xfrm>
              <a:off x="8075016" y="5403461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TextBox 118">
              <a:extLst>
                <a:ext uri="{FF2B5EF4-FFF2-40B4-BE49-F238E27FC236}">
                  <a16:creationId xmlns="" xmlns:a16="http://schemas.microsoft.com/office/drawing/2014/main" id="{A3903A9E-E01F-325F-462A-EB78F5887D19}"/>
                </a:ext>
              </a:extLst>
            </p:cNvPr>
            <p:cNvSpPr txBox="1"/>
            <p:nvPr/>
          </p:nvSpPr>
          <p:spPr>
            <a:xfrm>
              <a:off x="8078419" y="3434008"/>
              <a:ext cx="531023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512</a:t>
              </a:r>
              <a:endParaRPr lang="en-CH" sz="1400" dirty="0"/>
            </a:p>
          </p:txBody>
        </p:sp>
        <p:cxnSp>
          <p:nvCxnSpPr>
            <p:cNvPr id="120" name="Straight Arrow Connector 119">
              <a:extLst>
                <a:ext uri="{FF2B5EF4-FFF2-40B4-BE49-F238E27FC236}">
                  <a16:creationId xmlns="" xmlns:a16="http://schemas.microsoft.com/office/drawing/2014/main" id="{84B7E7C8-76A7-E88F-AC2F-7B4769CAEEBA}"/>
                </a:ext>
              </a:extLst>
            </p:cNvPr>
            <p:cNvCxnSpPr>
              <a:cxnSpLocks/>
            </p:cNvCxnSpPr>
            <p:nvPr/>
          </p:nvCxnSpPr>
          <p:spPr>
            <a:xfrm>
              <a:off x="8071612" y="3452477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TextBox 120">
              <a:extLst>
                <a:ext uri="{FF2B5EF4-FFF2-40B4-BE49-F238E27FC236}">
                  <a16:creationId xmlns="" xmlns:a16="http://schemas.microsoft.com/office/drawing/2014/main" id="{D9895A6D-0D3D-2D1E-6253-0BD0367FE5CC}"/>
                </a:ext>
              </a:extLst>
            </p:cNvPr>
            <p:cNvSpPr txBox="1"/>
            <p:nvPr/>
          </p:nvSpPr>
          <p:spPr>
            <a:xfrm>
              <a:off x="7759723" y="3049376"/>
              <a:ext cx="640162" cy="357473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ReLU</a:t>
              </a:r>
              <a:endParaRPr lang="en-CH" dirty="0"/>
            </a:p>
          </p:txBody>
        </p:sp>
        <p:sp>
          <p:nvSpPr>
            <p:cNvPr id="122" name="TextBox 121">
              <a:extLst>
                <a:ext uri="{FF2B5EF4-FFF2-40B4-BE49-F238E27FC236}">
                  <a16:creationId xmlns="" xmlns:a16="http://schemas.microsoft.com/office/drawing/2014/main" id="{8C1D9082-B045-A1EE-C8BB-A2189BFC5F20}"/>
                </a:ext>
              </a:extLst>
            </p:cNvPr>
            <p:cNvSpPr txBox="1"/>
            <p:nvPr/>
          </p:nvSpPr>
          <p:spPr>
            <a:xfrm>
              <a:off x="8078419" y="3998814"/>
              <a:ext cx="531023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512</a:t>
              </a:r>
              <a:endParaRPr lang="en-CH" sz="1400" dirty="0"/>
            </a:p>
          </p:txBody>
        </p:sp>
        <p:cxnSp>
          <p:nvCxnSpPr>
            <p:cNvPr id="123" name="Straight Arrow Connector 122">
              <a:extLst>
                <a:ext uri="{FF2B5EF4-FFF2-40B4-BE49-F238E27FC236}">
                  <a16:creationId xmlns="" xmlns:a16="http://schemas.microsoft.com/office/drawing/2014/main" id="{CAAFD700-12A3-F3FD-7F8A-723B7AD2CBED}"/>
                </a:ext>
              </a:extLst>
            </p:cNvPr>
            <p:cNvCxnSpPr>
              <a:cxnSpLocks/>
            </p:cNvCxnSpPr>
            <p:nvPr/>
          </p:nvCxnSpPr>
          <p:spPr>
            <a:xfrm>
              <a:off x="8071612" y="4009783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4" name="TextBox 123">
              <a:extLst>
                <a:ext uri="{FF2B5EF4-FFF2-40B4-BE49-F238E27FC236}">
                  <a16:creationId xmlns="" xmlns:a16="http://schemas.microsoft.com/office/drawing/2014/main" id="{7F05489E-371C-BD23-B266-F6108783EAE1}"/>
                </a:ext>
              </a:extLst>
            </p:cNvPr>
            <p:cNvSpPr txBox="1"/>
            <p:nvPr/>
          </p:nvSpPr>
          <p:spPr>
            <a:xfrm>
              <a:off x="7849588" y="3708465"/>
              <a:ext cx="444049" cy="3574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dirty="0"/>
                <a:t>BN</a:t>
              </a:r>
              <a:endParaRPr lang="en-CH" dirty="0"/>
            </a:p>
          </p:txBody>
        </p:sp>
        <p:sp>
          <p:nvSpPr>
            <p:cNvPr id="125" name="TextBox 124">
              <a:extLst>
                <a:ext uri="{FF2B5EF4-FFF2-40B4-BE49-F238E27FC236}">
                  <a16:creationId xmlns="" xmlns:a16="http://schemas.microsoft.com/office/drawing/2014/main" id="{F1AB79E6-A861-6269-8A4C-F55291D639D3}"/>
                </a:ext>
              </a:extLst>
            </p:cNvPr>
            <p:cNvSpPr txBox="1"/>
            <p:nvPr/>
          </p:nvSpPr>
          <p:spPr>
            <a:xfrm>
              <a:off x="8165222" y="5398563"/>
              <a:ext cx="364227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7</a:t>
              </a:r>
              <a:endParaRPr lang="en-CH" sz="1400" dirty="0"/>
            </a:p>
          </p:txBody>
        </p:sp>
        <p:sp>
          <p:nvSpPr>
            <p:cNvPr id="126" name="TextBox 125">
              <a:extLst>
                <a:ext uri="{FF2B5EF4-FFF2-40B4-BE49-F238E27FC236}">
                  <a16:creationId xmlns="" xmlns:a16="http://schemas.microsoft.com/office/drawing/2014/main" id="{4AA392B5-86BA-C607-3A29-D151D39CCAB7}"/>
                </a:ext>
              </a:extLst>
            </p:cNvPr>
            <p:cNvSpPr txBox="1"/>
            <p:nvPr/>
          </p:nvSpPr>
          <p:spPr>
            <a:xfrm>
              <a:off x="7689323" y="2404578"/>
              <a:ext cx="776572" cy="357473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="" xmlns:a16="http://schemas.microsoft.com/office/drawing/2014/main" id="{18AE1032-A6EA-4A78-AB61-6960EF4B6F73}"/>
                </a:ext>
              </a:extLst>
            </p:cNvPr>
            <p:cNvSpPr txBox="1"/>
            <p:nvPr/>
          </p:nvSpPr>
          <p:spPr>
            <a:xfrm>
              <a:off x="7696293" y="4346760"/>
              <a:ext cx="776572" cy="357473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="" xmlns:a16="http://schemas.microsoft.com/office/drawing/2014/main" id="{A429342A-F5DD-3CAD-02F1-516FCC8C4FB1}"/>
                </a:ext>
              </a:extLst>
            </p:cNvPr>
            <p:cNvSpPr txBox="1"/>
            <p:nvPr/>
          </p:nvSpPr>
          <p:spPr>
            <a:xfrm>
              <a:off x="7095339" y="3515702"/>
              <a:ext cx="616268" cy="7447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sz="4400" b="1" dirty="0"/>
                <a:t>···</a:t>
              </a:r>
              <a:endParaRPr lang="en-CH" sz="4400" b="1" dirty="0"/>
            </a:p>
          </p:txBody>
        </p:sp>
        <p:sp>
          <p:nvSpPr>
            <p:cNvPr id="129" name="TextBox 128">
              <a:extLst>
                <a:ext uri="{FF2B5EF4-FFF2-40B4-BE49-F238E27FC236}">
                  <a16:creationId xmlns="" xmlns:a16="http://schemas.microsoft.com/office/drawing/2014/main" id="{D352ACF8-EEE1-3C28-2809-17347F7704E9}"/>
                </a:ext>
              </a:extLst>
            </p:cNvPr>
            <p:cNvSpPr txBox="1"/>
            <p:nvPr/>
          </p:nvSpPr>
          <p:spPr>
            <a:xfrm>
              <a:off x="7215080" y="3572338"/>
              <a:ext cx="36740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sz="1400" dirty="0"/>
                <a:t>14</a:t>
              </a:r>
              <a:endParaRPr lang="en-CH" sz="1400" dirty="0"/>
            </a:p>
          </p:txBody>
        </p:sp>
        <p:sp>
          <p:nvSpPr>
            <p:cNvPr id="132" name="TextBox 131">
              <a:extLst>
                <a:ext uri="{FF2B5EF4-FFF2-40B4-BE49-F238E27FC236}">
                  <a16:creationId xmlns="" xmlns:a16="http://schemas.microsoft.com/office/drawing/2014/main" id="{81311BC2-EADB-6F48-2329-2D3B8BB0EB4E}"/>
                </a:ext>
              </a:extLst>
            </p:cNvPr>
            <p:cNvSpPr txBox="1"/>
            <p:nvPr/>
          </p:nvSpPr>
          <p:spPr>
            <a:xfrm>
              <a:off x="1670613" y="2404578"/>
              <a:ext cx="776572" cy="357473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="" xmlns:a16="http://schemas.microsoft.com/office/drawing/2014/main" id="{B17FDAAC-BBFC-C79E-B1D0-77CE4BAB1FC2}"/>
                </a:ext>
              </a:extLst>
            </p:cNvPr>
            <p:cNvSpPr txBox="1"/>
            <p:nvPr/>
          </p:nvSpPr>
          <p:spPr>
            <a:xfrm>
              <a:off x="2067933" y="2747189"/>
              <a:ext cx="531023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28</a:t>
              </a:r>
              <a:endParaRPr lang="en-CH" sz="1400" dirty="0"/>
            </a:p>
          </p:txBody>
        </p:sp>
        <p:sp>
          <p:nvSpPr>
            <p:cNvPr id="134" name="TextBox 133">
              <a:extLst>
                <a:ext uri="{FF2B5EF4-FFF2-40B4-BE49-F238E27FC236}">
                  <a16:creationId xmlns="" xmlns:a16="http://schemas.microsoft.com/office/drawing/2014/main" id="{50171C2B-144B-9FA3-8689-328CE431E526}"/>
                </a:ext>
              </a:extLst>
            </p:cNvPr>
            <p:cNvSpPr txBox="1"/>
            <p:nvPr/>
          </p:nvSpPr>
          <p:spPr>
            <a:xfrm>
              <a:off x="1670613" y="4346760"/>
              <a:ext cx="776572" cy="357473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="" xmlns:a16="http://schemas.microsoft.com/office/drawing/2014/main" id="{0A284060-8B62-940D-E510-08BC25DA100E}"/>
                </a:ext>
              </a:extLst>
            </p:cNvPr>
            <p:cNvSpPr txBox="1"/>
            <p:nvPr/>
          </p:nvSpPr>
          <p:spPr>
            <a:xfrm>
              <a:off x="2151332" y="4746347"/>
              <a:ext cx="364227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6</a:t>
              </a:r>
              <a:endParaRPr lang="en-CH" sz="1400" dirty="0"/>
            </a:p>
          </p:txBody>
        </p:sp>
        <p:cxnSp>
          <p:nvCxnSpPr>
            <p:cNvPr id="136" name="Straight Arrow Connector 135">
              <a:extLst>
                <a:ext uri="{FF2B5EF4-FFF2-40B4-BE49-F238E27FC236}">
                  <a16:creationId xmlns="" xmlns:a16="http://schemas.microsoft.com/office/drawing/2014/main" id="{CBFD78B5-39E2-F01A-012A-507CD27C1AAC}"/>
                </a:ext>
              </a:extLst>
            </p:cNvPr>
            <p:cNvCxnSpPr>
              <a:cxnSpLocks/>
            </p:cNvCxnSpPr>
            <p:nvPr/>
          </p:nvCxnSpPr>
          <p:spPr>
            <a:xfrm>
              <a:off x="2061126" y="2765658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Arrow Connector 136">
              <a:extLst>
                <a:ext uri="{FF2B5EF4-FFF2-40B4-BE49-F238E27FC236}">
                  <a16:creationId xmlns="" xmlns:a16="http://schemas.microsoft.com/office/drawing/2014/main" id="{2747B555-DBC9-7465-69AD-7DD40864E460}"/>
                </a:ext>
              </a:extLst>
            </p:cNvPr>
            <p:cNvCxnSpPr>
              <a:cxnSpLocks/>
            </p:cNvCxnSpPr>
            <p:nvPr/>
          </p:nvCxnSpPr>
          <p:spPr>
            <a:xfrm>
              <a:off x="2061126" y="4759864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TextBox 137">
              <a:extLst>
                <a:ext uri="{FF2B5EF4-FFF2-40B4-BE49-F238E27FC236}">
                  <a16:creationId xmlns="" xmlns:a16="http://schemas.microsoft.com/office/drawing/2014/main" id="{6CE93927-14FE-2E15-6762-8DEE8F1FDC51}"/>
                </a:ext>
              </a:extLst>
            </p:cNvPr>
            <p:cNvSpPr txBox="1"/>
            <p:nvPr/>
          </p:nvSpPr>
          <p:spPr>
            <a:xfrm>
              <a:off x="1600414" y="5030724"/>
              <a:ext cx="921423" cy="357473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Softmax</a:t>
              </a:r>
              <a:endParaRPr lang="en-CH" dirty="0"/>
            </a:p>
          </p:txBody>
        </p:sp>
        <p:cxnSp>
          <p:nvCxnSpPr>
            <p:cNvPr id="139" name="Straight Arrow Connector 138">
              <a:extLst>
                <a:ext uri="{FF2B5EF4-FFF2-40B4-BE49-F238E27FC236}">
                  <a16:creationId xmlns="" xmlns:a16="http://schemas.microsoft.com/office/drawing/2014/main" id="{EFCB2D6B-A797-BD9E-A7B7-1B3755F32124}"/>
                </a:ext>
              </a:extLst>
            </p:cNvPr>
            <p:cNvCxnSpPr>
              <a:cxnSpLocks/>
            </p:cNvCxnSpPr>
            <p:nvPr/>
          </p:nvCxnSpPr>
          <p:spPr>
            <a:xfrm>
              <a:off x="2061126" y="5404330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40" name="TextBox 139">
                  <a:extLst>
                    <a:ext uri="{FF2B5EF4-FFF2-40B4-BE49-F238E27FC236}">
                      <a16:creationId xmlns="" xmlns:a16="http://schemas.microsoft.com/office/drawing/2014/main" id="{B97E9C03-E290-A924-C285-77897AB78982}"/>
                    </a:ext>
                  </a:extLst>
                </p:cNvPr>
                <p:cNvSpPr txBox="1"/>
                <p:nvPr/>
              </p:nvSpPr>
              <p:spPr>
                <a:xfrm>
                  <a:off x="1234236" y="5694942"/>
                  <a:ext cx="1646971" cy="41388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fr-CH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CH" i="1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sSubSup>
                              <m:sSubSupPr>
                                <m:ctrlPr>
                                  <a:rPr lang="fr-CH" b="1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r-CH" b="1" i="1">
                                    <a:latin typeface="Cambria Math" panose="02040503050406030204" pitchFamily="18" charset="0"/>
                                  </a:rPr>
                                  <m:t>𝒎</m:t>
                                </m:r>
                              </m:e>
                              <m:sub>
                                <m:r>
                                  <a:rPr lang="fr-CH" b="1" i="1" smtClean="0">
                                    <a:latin typeface="Cambria Math" panose="02040503050406030204" pitchFamily="18" charset="0"/>
                                  </a:rPr>
                                  <m:t>𝟎</m:t>
                                </m:r>
                              </m:sub>
                              <m:sup>
                                <m:r>
                                  <a:rPr lang="fr-CH" b="1" i="1">
                                    <a:latin typeface="Cambria Math" panose="02040503050406030204" pitchFamily="18" charset="0"/>
                                  </a:rPr>
                                  <m:t>𝒓</m:t>
                                </m:r>
                                <m:r>
                                  <a:rPr lang="fr-CH" b="1" i="1" smtClean="0">
                                    <a:latin typeface="Cambria Math" panose="02040503050406030204" pitchFamily="18" charset="0"/>
                                  </a:rPr>
                                  <m:t>𝒘𝒔</m:t>
                                </m:r>
                              </m:sup>
                            </m:sSubSup>
                            <m:r>
                              <a:rPr lang="fr-CH" b="1" i="1">
                                <a:latin typeface="Cambria Math" panose="02040503050406030204" pitchFamily="18" charset="0"/>
                              </a:rPr>
                              <m:t>[</m:t>
                            </m:r>
                            <m:r>
                              <a:rPr lang="fr-CH" b="1" i="1">
                                <a:latin typeface="Cambria Math" panose="02040503050406030204" pitchFamily="18" charset="0"/>
                              </a:rPr>
                              <m:t>𝟎</m:t>
                            </m:r>
                            <m:r>
                              <a:rPr lang="fr-CH" b="1" i="1">
                                <a:latin typeface="Cambria Math" panose="02040503050406030204" pitchFamily="18" charset="0"/>
                              </a:rPr>
                              <m:t>]</m:t>
                            </m:r>
                          </m:sub>
                        </m:sSub>
                        <m:d>
                          <m:dPr>
                            <m:ctrlPr>
                              <a:rPr lang="fr-CH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r-CH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∙| </m:t>
                            </m:r>
                            <m:r>
                              <a:rPr lang="fr-CH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𝒙</m:t>
                            </m:r>
                          </m:e>
                        </m:d>
                      </m:oMath>
                    </m:oMathPara>
                  </a14:m>
                  <a:endParaRPr lang="en-CH" dirty="0"/>
                </a:p>
              </p:txBody>
            </p:sp>
          </mc:Choice>
          <mc:Fallback xmlns="">
            <p:sp>
              <p:nvSpPr>
                <p:cNvPr id="140" name="TextBox 139">
                  <a:extLst>
                    <a:ext uri="{FF2B5EF4-FFF2-40B4-BE49-F238E27FC236}">
                      <a16:creationId xmlns:a16="http://schemas.microsoft.com/office/drawing/2014/main" id="{B97E9C03-E290-A924-C285-77897AB7898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234236" y="5694942"/>
                  <a:ext cx="1646971" cy="413887"/>
                </a:xfrm>
                <a:prstGeom prst="rect">
                  <a:avLst/>
                </a:prstGeom>
                <a:blipFill>
                  <a:blip r:embed="rId6"/>
                  <a:stretch>
                    <a:fillRect b="-5882"/>
                  </a:stretch>
                </a:blipFill>
              </p:spPr>
              <p:txBody>
                <a:bodyPr/>
                <a:lstStyle/>
                <a:p>
                  <a:r>
                    <a:rPr lang="en-CH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41" name="TextBox 140">
              <a:extLst>
                <a:ext uri="{FF2B5EF4-FFF2-40B4-BE49-F238E27FC236}">
                  <a16:creationId xmlns="" xmlns:a16="http://schemas.microsoft.com/office/drawing/2014/main" id="{0D8736F2-B9E0-8F58-053B-CB1EFBC8B39B}"/>
                </a:ext>
              </a:extLst>
            </p:cNvPr>
            <p:cNvSpPr txBox="1"/>
            <p:nvPr/>
          </p:nvSpPr>
          <p:spPr>
            <a:xfrm>
              <a:off x="2064529" y="3434878"/>
              <a:ext cx="531023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28</a:t>
              </a:r>
              <a:endParaRPr lang="en-CH" sz="1400" dirty="0"/>
            </a:p>
          </p:txBody>
        </p:sp>
        <p:cxnSp>
          <p:nvCxnSpPr>
            <p:cNvPr id="142" name="Straight Arrow Connector 141">
              <a:extLst>
                <a:ext uri="{FF2B5EF4-FFF2-40B4-BE49-F238E27FC236}">
                  <a16:creationId xmlns="" xmlns:a16="http://schemas.microsoft.com/office/drawing/2014/main" id="{9F6FADDA-899D-492A-C2F7-345F8F0C4EC3}"/>
                </a:ext>
              </a:extLst>
            </p:cNvPr>
            <p:cNvCxnSpPr>
              <a:cxnSpLocks/>
            </p:cNvCxnSpPr>
            <p:nvPr/>
          </p:nvCxnSpPr>
          <p:spPr>
            <a:xfrm>
              <a:off x="2057722" y="3453346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3" name="TextBox 142">
              <a:extLst>
                <a:ext uri="{FF2B5EF4-FFF2-40B4-BE49-F238E27FC236}">
                  <a16:creationId xmlns="" xmlns:a16="http://schemas.microsoft.com/office/drawing/2014/main" id="{7D519E41-AFD1-41D4-FC5A-98BED12F483B}"/>
                </a:ext>
              </a:extLst>
            </p:cNvPr>
            <p:cNvSpPr txBox="1"/>
            <p:nvPr/>
          </p:nvSpPr>
          <p:spPr>
            <a:xfrm>
              <a:off x="1745833" y="3050244"/>
              <a:ext cx="640162" cy="357473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ReLU</a:t>
              </a:r>
              <a:endParaRPr lang="en-CH" dirty="0"/>
            </a:p>
          </p:txBody>
        </p:sp>
        <p:sp>
          <p:nvSpPr>
            <p:cNvPr id="144" name="TextBox 143">
              <a:extLst>
                <a:ext uri="{FF2B5EF4-FFF2-40B4-BE49-F238E27FC236}">
                  <a16:creationId xmlns="" xmlns:a16="http://schemas.microsoft.com/office/drawing/2014/main" id="{308D89EF-D970-A010-DCB4-6584C46342A6}"/>
                </a:ext>
              </a:extLst>
            </p:cNvPr>
            <p:cNvSpPr txBox="1"/>
            <p:nvPr/>
          </p:nvSpPr>
          <p:spPr>
            <a:xfrm>
              <a:off x="2064529" y="3999683"/>
              <a:ext cx="531023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28</a:t>
              </a:r>
              <a:endParaRPr lang="en-CH" sz="1400" dirty="0"/>
            </a:p>
          </p:txBody>
        </p:sp>
        <p:cxnSp>
          <p:nvCxnSpPr>
            <p:cNvPr id="145" name="Straight Arrow Connector 144">
              <a:extLst>
                <a:ext uri="{FF2B5EF4-FFF2-40B4-BE49-F238E27FC236}">
                  <a16:creationId xmlns="" xmlns:a16="http://schemas.microsoft.com/office/drawing/2014/main" id="{AC0DC2BB-66F8-2CF7-ACC4-32A27AA23B88}"/>
                </a:ext>
              </a:extLst>
            </p:cNvPr>
            <p:cNvCxnSpPr>
              <a:cxnSpLocks/>
            </p:cNvCxnSpPr>
            <p:nvPr/>
          </p:nvCxnSpPr>
          <p:spPr>
            <a:xfrm>
              <a:off x="2057722" y="4010653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6" name="TextBox 145">
              <a:extLst>
                <a:ext uri="{FF2B5EF4-FFF2-40B4-BE49-F238E27FC236}">
                  <a16:creationId xmlns="" xmlns:a16="http://schemas.microsoft.com/office/drawing/2014/main" id="{40CC7811-2FD4-6CD8-2D9D-FA0C013D0CC6}"/>
                </a:ext>
              </a:extLst>
            </p:cNvPr>
            <p:cNvSpPr txBox="1"/>
            <p:nvPr/>
          </p:nvSpPr>
          <p:spPr>
            <a:xfrm>
              <a:off x="1835698" y="3709333"/>
              <a:ext cx="444049" cy="3574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dirty="0"/>
                <a:t>BN</a:t>
              </a:r>
              <a:endParaRPr lang="en-CH" dirty="0"/>
            </a:p>
          </p:txBody>
        </p:sp>
        <p:sp>
          <p:nvSpPr>
            <p:cNvPr id="147" name="TextBox 146">
              <a:extLst>
                <a:ext uri="{FF2B5EF4-FFF2-40B4-BE49-F238E27FC236}">
                  <a16:creationId xmlns="" xmlns:a16="http://schemas.microsoft.com/office/drawing/2014/main" id="{C5478885-DE0D-C804-F904-6ED3A7266C84}"/>
                </a:ext>
              </a:extLst>
            </p:cNvPr>
            <p:cNvSpPr txBox="1"/>
            <p:nvPr/>
          </p:nvSpPr>
          <p:spPr>
            <a:xfrm>
              <a:off x="2151332" y="5399432"/>
              <a:ext cx="364227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6</a:t>
              </a:r>
              <a:endParaRPr lang="en-CH" sz="1400" dirty="0"/>
            </a:p>
          </p:txBody>
        </p:sp>
        <p:sp>
          <p:nvSpPr>
            <p:cNvPr id="148" name="TextBox 147">
              <a:extLst>
                <a:ext uri="{FF2B5EF4-FFF2-40B4-BE49-F238E27FC236}">
                  <a16:creationId xmlns="" xmlns:a16="http://schemas.microsoft.com/office/drawing/2014/main" id="{37B553FF-A450-4CB2-D773-3CC14DB08E5B}"/>
                </a:ext>
              </a:extLst>
            </p:cNvPr>
            <p:cNvSpPr txBox="1"/>
            <p:nvPr/>
          </p:nvSpPr>
          <p:spPr>
            <a:xfrm>
              <a:off x="3745432" y="2747437"/>
              <a:ext cx="531023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28</a:t>
              </a:r>
              <a:endParaRPr lang="en-CH" sz="1400" dirty="0"/>
            </a:p>
          </p:txBody>
        </p:sp>
        <p:sp>
          <p:nvSpPr>
            <p:cNvPr id="149" name="TextBox 148">
              <a:extLst>
                <a:ext uri="{FF2B5EF4-FFF2-40B4-BE49-F238E27FC236}">
                  <a16:creationId xmlns="" xmlns:a16="http://schemas.microsoft.com/office/drawing/2014/main" id="{C21E098E-C06E-4B88-0B14-2CF6AD84EF92}"/>
                </a:ext>
              </a:extLst>
            </p:cNvPr>
            <p:cNvSpPr txBox="1"/>
            <p:nvPr/>
          </p:nvSpPr>
          <p:spPr>
            <a:xfrm>
              <a:off x="3828830" y="4746595"/>
              <a:ext cx="364227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6</a:t>
              </a:r>
              <a:endParaRPr lang="en-CH" sz="1400" dirty="0"/>
            </a:p>
          </p:txBody>
        </p:sp>
        <p:cxnSp>
          <p:nvCxnSpPr>
            <p:cNvPr id="150" name="Straight Arrow Connector 149">
              <a:extLst>
                <a:ext uri="{FF2B5EF4-FFF2-40B4-BE49-F238E27FC236}">
                  <a16:creationId xmlns="" xmlns:a16="http://schemas.microsoft.com/office/drawing/2014/main" id="{7357E48C-5564-CEFF-1B63-312CDB5F55C2}"/>
                </a:ext>
              </a:extLst>
            </p:cNvPr>
            <p:cNvCxnSpPr>
              <a:cxnSpLocks/>
            </p:cNvCxnSpPr>
            <p:nvPr/>
          </p:nvCxnSpPr>
          <p:spPr>
            <a:xfrm>
              <a:off x="3738624" y="2765906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Arrow Connector 150">
              <a:extLst>
                <a:ext uri="{FF2B5EF4-FFF2-40B4-BE49-F238E27FC236}">
                  <a16:creationId xmlns="" xmlns:a16="http://schemas.microsoft.com/office/drawing/2014/main" id="{4721FF1A-7364-0936-A1BC-40587D5B6186}"/>
                </a:ext>
              </a:extLst>
            </p:cNvPr>
            <p:cNvCxnSpPr>
              <a:cxnSpLocks/>
            </p:cNvCxnSpPr>
            <p:nvPr/>
          </p:nvCxnSpPr>
          <p:spPr>
            <a:xfrm>
              <a:off x="3738624" y="4760113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2" name="TextBox 151">
              <a:extLst>
                <a:ext uri="{FF2B5EF4-FFF2-40B4-BE49-F238E27FC236}">
                  <a16:creationId xmlns="" xmlns:a16="http://schemas.microsoft.com/office/drawing/2014/main" id="{C1C59086-F035-1C4D-EBF9-350B528B4F2E}"/>
                </a:ext>
              </a:extLst>
            </p:cNvPr>
            <p:cNvSpPr txBox="1"/>
            <p:nvPr/>
          </p:nvSpPr>
          <p:spPr>
            <a:xfrm>
              <a:off x="3277913" y="5030972"/>
              <a:ext cx="921423" cy="357473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Softmax</a:t>
              </a:r>
              <a:endParaRPr lang="en-CH" dirty="0"/>
            </a:p>
          </p:txBody>
        </p:sp>
        <p:cxnSp>
          <p:nvCxnSpPr>
            <p:cNvPr id="153" name="Straight Arrow Connector 152">
              <a:extLst>
                <a:ext uri="{FF2B5EF4-FFF2-40B4-BE49-F238E27FC236}">
                  <a16:creationId xmlns="" xmlns:a16="http://schemas.microsoft.com/office/drawing/2014/main" id="{4CAFF1C8-0609-A0FE-94BE-EDCC001E93B4}"/>
                </a:ext>
              </a:extLst>
            </p:cNvPr>
            <p:cNvCxnSpPr>
              <a:cxnSpLocks/>
            </p:cNvCxnSpPr>
            <p:nvPr/>
          </p:nvCxnSpPr>
          <p:spPr>
            <a:xfrm>
              <a:off x="3738624" y="5404579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4" name="TextBox 153">
                  <a:extLst>
                    <a:ext uri="{FF2B5EF4-FFF2-40B4-BE49-F238E27FC236}">
                      <a16:creationId xmlns="" xmlns:a16="http://schemas.microsoft.com/office/drawing/2014/main" id="{BB9D56F8-E7EA-7DD4-7D09-CB2A42232049}"/>
                    </a:ext>
                  </a:extLst>
                </p:cNvPr>
                <p:cNvSpPr txBox="1"/>
                <p:nvPr/>
              </p:nvSpPr>
              <p:spPr>
                <a:xfrm>
                  <a:off x="2869554" y="5695190"/>
                  <a:ext cx="1752345" cy="41388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fr-CH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CH" i="1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sSubSup>
                              <m:sSubSupPr>
                                <m:ctrlPr>
                                  <a:rPr lang="fr-CH" b="1" i="1">
                                    <a:latin typeface="Cambria Math" panose="02040503050406030204" pitchFamily="18" charset="0"/>
                                  </a:rPr>
                                </m:ctrlPr>
                              </m:sSubSupPr>
                              <m:e>
                                <m:r>
                                  <a:rPr lang="fr-CH" b="1" i="1">
                                    <a:latin typeface="Cambria Math" panose="02040503050406030204" pitchFamily="18" charset="0"/>
                                  </a:rPr>
                                  <m:t>𝒎</m:t>
                                </m:r>
                              </m:e>
                              <m:sub>
                                <m:r>
                                  <a:rPr lang="fr-CH" b="1" i="1" smtClean="0">
                                    <a:latin typeface="Cambria Math" panose="02040503050406030204" pitchFamily="18" charset="0"/>
                                  </a:rPr>
                                  <m:t>𝟗𝟕</m:t>
                                </m:r>
                              </m:sub>
                              <m:sup>
                                <m:r>
                                  <a:rPr lang="fr-CH" b="1" i="1">
                                    <a:latin typeface="Cambria Math" panose="02040503050406030204" pitchFamily="18" charset="0"/>
                                  </a:rPr>
                                  <m:t>𝒓𝒘𝒔</m:t>
                                </m:r>
                              </m:sup>
                            </m:sSubSup>
                            <m:r>
                              <a:rPr lang="fr-CH" b="1" i="1">
                                <a:latin typeface="Cambria Math" panose="02040503050406030204" pitchFamily="18" charset="0"/>
                              </a:rPr>
                              <m:t>[</m:t>
                            </m:r>
                            <m:r>
                              <a:rPr lang="fr-CH" b="1" i="1" smtClean="0">
                                <a:latin typeface="Cambria Math" panose="02040503050406030204" pitchFamily="18" charset="0"/>
                              </a:rPr>
                              <m:t>𝟏</m:t>
                            </m:r>
                            <m:r>
                              <a:rPr lang="fr-CH" b="1" i="1">
                                <a:latin typeface="Cambria Math" panose="02040503050406030204" pitchFamily="18" charset="0"/>
                              </a:rPr>
                              <m:t>]</m:t>
                            </m:r>
                          </m:sub>
                        </m:sSub>
                        <m:d>
                          <m:dPr>
                            <m:ctrlPr>
                              <a:rPr lang="fr-CH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r-CH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∙| </m:t>
                            </m:r>
                            <m:r>
                              <a:rPr lang="fr-CH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𝒙</m:t>
                            </m:r>
                          </m:e>
                        </m:d>
                      </m:oMath>
                    </m:oMathPara>
                  </a14:m>
                  <a:endParaRPr lang="en-CH" dirty="0"/>
                </a:p>
              </p:txBody>
            </p:sp>
          </mc:Choice>
          <mc:Fallback xmlns="">
            <p:sp>
              <p:nvSpPr>
                <p:cNvPr id="154" name="TextBox 153">
                  <a:extLst>
                    <a:ext uri="{FF2B5EF4-FFF2-40B4-BE49-F238E27FC236}">
                      <a16:creationId xmlns:a16="http://schemas.microsoft.com/office/drawing/2014/main" id="{BB9D56F8-E7EA-7DD4-7D09-CB2A4223204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869554" y="5695190"/>
                  <a:ext cx="1752345" cy="413887"/>
                </a:xfrm>
                <a:prstGeom prst="rect">
                  <a:avLst/>
                </a:prstGeom>
                <a:blipFill>
                  <a:blip r:embed="rId7"/>
                  <a:stretch>
                    <a:fillRect b="-5882"/>
                  </a:stretch>
                </a:blipFill>
              </p:spPr>
              <p:txBody>
                <a:bodyPr/>
                <a:lstStyle/>
                <a:p>
                  <a:r>
                    <a:rPr lang="en-CH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55" name="TextBox 154">
              <a:extLst>
                <a:ext uri="{FF2B5EF4-FFF2-40B4-BE49-F238E27FC236}">
                  <a16:creationId xmlns="" xmlns:a16="http://schemas.microsoft.com/office/drawing/2014/main" id="{D0432D9A-67B7-825B-D81F-8E0211B1BF96}"/>
                </a:ext>
              </a:extLst>
            </p:cNvPr>
            <p:cNvSpPr txBox="1"/>
            <p:nvPr/>
          </p:nvSpPr>
          <p:spPr>
            <a:xfrm>
              <a:off x="3742027" y="3435124"/>
              <a:ext cx="531023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28</a:t>
              </a:r>
              <a:endParaRPr lang="en-CH" sz="1400" dirty="0"/>
            </a:p>
          </p:txBody>
        </p:sp>
        <p:cxnSp>
          <p:nvCxnSpPr>
            <p:cNvPr id="156" name="Straight Arrow Connector 155">
              <a:extLst>
                <a:ext uri="{FF2B5EF4-FFF2-40B4-BE49-F238E27FC236}">
                  <a16:creationId xmlns="" xmlns:a16="http://schemas.microsoft.com/office/drawing/2014/main" id="{4C15934A-C32D-D885-20F7-F78E5F1DC11C}"/>
                </a:ext>
              </a:extLst>
            </p:cNvPr>
            <p:cNvCxnSpPr>
              <a:cxnSpLocks/>
            </p:cNvCxnSpPr>
            <p:nvPr/>
          </p:nvCxnSpPr>
          <p:spPr>
            <a:xfrm>
              <a:off x="3735220" y="3453594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7" name="TextBox 156">
              <a:extLst>
                <a:ext uri="{FF2B5EF4-FFF2-40B4-BE49-F238E27FC236}">
                  <a16:creationId xmlns="" xmlns:a16="http://schemas.microsoft.com/office/drawing/2014/main" id="{9CAEDE9A-18DA-B53F-A40A-5A63A0959D0D}"/>
                </a:ext>
              </a:extLst>
            </p:cNvPr>
            <p:cNvSpPr txBox="1"/>
            <p:nvPr/>
          </p:nvSpPr>
          <p:spPr>
            <a:xfrm>
              <a:off x="3423331" y="3050492"/>
              <a:ext cx="640162" cy="357473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ReLU</a:t>
              </a:r>
              <a:endParaRPr lang="en-CH" dirty="0"/>
            </a:p>
          </p:txBody>
        </p:sp>
        <p:sp>
          <p:nvSpPr>
            <p:cNvPr id="158" name="TextBox 157">
              <a:extLst>
                <a:ext uri="{FF2B5EF4-FFF2-40B4-BE49-F238E27FC236}">
                  <a16:creationId xmlns="" xmlns:a16="http://schemas.microsoft.com/office/drawing/2014/main" id="{81548A3C-E841-9D82-099A-3D61F9FB8D1C}"/>
                </a:ext>
              </a:extLst>
            </p:cNvPr>
            <p:cNvSpPr txBox="1"/>
            <p:nvPr/>
          </p:nvSpPr>
          <p:spPr>
            <a:xfrm>
              <a:off x="3742027" y="3999931"/>
              <a:ext cx="531023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28</a:t>
              </a:r>
              <a:endParaRPr lang="en-CH" sz="1400" dirty="0"/>
            </a:p>
          </p:txBody>
        </p:sp>
        <p:cxnSp>
          <p:nvCxnSpPr>
            <p:cNvPr id="159" name="Straight Arrow Connector 158">
              <a:extLst>
                <a:ext uri="{FF2B5EF4-FFF2-40B4-BE49-F238E27FC236}">
                  <a16:creationId xmlns="" xmlns:a16="http://schemas.microsoft.com/office/drawing/2014/main" id="{AEE68F61-3A32-170F-DE22-EE23B7358D72}"/>
                </a:ext>
              </a:extLst>
            </p:cNvPr>
            <p:cNvCxnSpPr>
              <a:cxnSpLocks/>
            </p:cNvCxnSpPr>
            <p:nvPr/>
          </p:nvCxnSpPr>
          <p:spPr>
            <a:xfrm>
              <a:off x="3735220" y="4010900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0" name="TextBox 159">
              <a:extLst>
                <a:ext uri="{FF2B5EF4-FFF2-40B4-BE49-F238E27FC236}">
                  <a16:creationId xmlns="" xmlns:a16="http://schemas.microsoft.com/office/drawing/2014/main" id="{105B88BD-F8DB-B18D-DA3D-C3A0F005595D}"/>
                </a:ext>
              </a:extLst>
            </p:cNvPr>
            <p:cNvSpPr txBox="1"/>
            <p:nvPr/>
          </p:nvSpPr>
          <p:spPr>
            <a:xfrm>
              <a:off x="3513196" y="3709581"/>
              <a:ext cx="444049" cy="3574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dirty="0"/>
                <a:t>BN</a:t>
              </a:r>
              <a:endParaRPr lang="en-CH" dirty="0"/>
            </a:p>
          </p:txBody>
        </p:sp>
        <p:sp>
          <p:nvSpPr>
            <p:cNvPr id="161" name="TextBox 160">
              <a:extLst>
                <a:ext uri="{FF2B5EF4-FFF2-40B4-BE49-F238E27FC236}">
                  <a16:creationId xmlns="" xmlns:a16="http://schemas.microsoft.com/office/drawing/2014/main" id="{BAF49171-9065-BF18-0AEF-6A294B47F4A8}"/>
                </a:ext>
              </a:extLst>
            </p:cNvPr>
            <p:cNvSpPr txBox="1"/>
            <p:nvPr/>
          </p:nvSpPr>
          <p:spPr>
            <a:xfrm>
              <a:off x="3828830" y="5399680"/>
              <a:ext cx="364227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6</a:t>
              </a:r>
              <a:endParaRPr lang="en-CH" sz="1400" dirty="0"/>
            </a:p>
          </p:txBody>
        </p:sp>
        <p:cxnSp>
          <p:nvCxnSpPr>
            <p:cNvPr id="162" name="Straight Arrow Connector 161">
              <a:extLst>
                <a:ext uri="{FF2B5EF4-FFF2-40B4-BE49-F238E27FC236}">
                  <a16:creationId xmlns="" xmlns:a16="http://schemas.microsoft.com/office/drawing/2014/main" id="{72458753-7A81-CF10-A5C9-8D519EB9A79A}"/>
                </a:ext>
              </a:extLst>
            </p:cNvPr>
            <p:cNvCxnSpPr>
              <a:cxnSpLocks/>
              <a:endCxn id="132" idx="0"/>
            </p:cNvCxnSpPr>
            <p:nvPr/>
          </p:nvCxnSpPr>
          <p:spPr>
            <a:xfrm flipH="1">
              <a:off x="2058899" y="2198994"/>
              <a:ext cx="4034459" cy="205584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Arrow Connector 162">
              <a:extLst>
                <a:ext uri="{FF2B5EF4-FFF2-40B4-BE49-F238E27FC236}">
                  <a16:creationId xmlns="" xmlns:a16="http://schemas.microsoft.com/office/drawing/2014/main" id="{38DE6B20-18C0-7078-27D2-EB1419BBD415}"/>
                </a:ext>
              </a:extLst>
            </p:cNvPr>
            <p:cNvCxnSpPr>
              <a:cxnSpLocks/>
              <a:endCxn id="165" idx="0"/>
            </p:cNvCxnSpPr>
            <p:nvPr/>
          </p:nvCxnSpPr>
          <p:spPr>
            <a:xfrm flipH="1">
              <a:off x="3742840" y="2192840"/>
              <a:ext cx="2347116" cy="211738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4" name="TextBox 163">
              <a:extLst>
                <a:ext uri="{FF2B5EF4-FFF2-40B4-BE49-F238E27FC236}">
                  <a16:creationId xmlns="" xmlns:a16="http://schemas.microsoft.com/office/drawing/2014/main" id="{9047D92C-F2F9-21E7-0092-C914F9074EB2}"/>
                </a:ext>
              </a:extLst>
            </p:cNvPr>
            <p:cNvSpPr txBox="1"/>
            <p:nvPr/>
          </p:nvSpPr>
          <p:spPr>
            <a:xfrm>
              <a:off x="2638221" y="3515702"/>
              <a:ext cx="616268" cy="74473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sz="4400" b="1" dirty="0"/>
                <a:t>···</a:t>
              </a:r>
              <a:endParaRPr lang="en-CH" sz="4400" b="1" dirty="0"/>
            </a:p>
          </p:txBody>
        </p:sp>
        <p:sp>
          <p:nvSpPr>
            <p:cNvPr id="165" name="TextBox 164">
              <a:extLst>
                <a:ext uri="{FF2B5EF4-FFF2-40B4-BE49-F238E27FC236}">
                  <a16:creationId xmlns="" xmlns:a16="http://schemas.microsoft.com/office/drawing/2014/main" id="{7B662F79-6C34-268A-00E6-8981FF8B0DC0}"/>
                </a:ext>
              </a:extLst>
            </p:cNvPr>
            <p:cNvSpPr txBox="1"/>
            <p:nvPr/>
          </p:nvSpPr>
          <p:spPr>
            <a:xfrm>
              <a:off x="3354554" y="2404578"/>
              <a:ext cx="776572" cy="357473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p:sp>
          <p:nvSpPr>
            <p:cNvPr id="166" name="TextBox 165">
              <a:extLst>
                <a:ext uri="{FF2B5EF4-FFF2-40B4-BE49-F238E27FC236}">
                  <a16:creationId xmlns="" xmlns:a16="http://schemas.microsoft.com/office/drawing/2014/main" id="{F83FE969-C459-688D-D474-357243DC3AB9}"/>
                </a:ext>
              </a:extLst>
            </p:cNvPr>
            <p:cNvSpPr txBox="1"/>
            <p:nvPr/>
          </p:nvSpPr>
          <p:spPr>
            <a:xfrm>
              <a:off x="3342890" y="4346760"/>
              <a:ext cx="776572" cy="357473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p:sp>
          <p:nvSpPr>
            <p:cNvPr id="167" name="TextBox 166">
              <a:extLst>
                <a:ext uri="{FF2B5EF4-FFF2-40B4-BE49-F238E27FC236}">
                  <a16:creationId xmlns="" xmlns:a16="http://schemas.microsoft.com/office/drawing/2014/main" id="{A85F7073-245B-075F-1953-9D1EBFA54698}"/>
                </a:ext>
              </a:extLst>
            </p:cNvPr>
            <p:cNvSpPr txBox="1"/>
            <p:nvPr/>
          </p:nvSpPr>
          <p:spPr>
            <a:xfrm>
              <a:off x="2701701" y="3572338"/>
              <a:ext cx="45878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sz="1400" dirty="0"/>
                <a:t>196</a:t>
              </a:r>
              <a:endParaRPr lang="en-CH" sz="1400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68" name="TextBox 167">
                  <a:extLst>
                    <a:ext uri="{FF2B5EF4-FFF2-40B4-BE49-F238E27FC236}">
                      <a16:creationId xmlns="" xmlns:a16="http://schemas.microsoft.com/office/drawing/2014/main" id="{14D9C122-E283-4B0F-92E7-533D8591F5B5}"/>
                    </a:ext>
                  </a:extLst>
                </p:cNvPr>
                <p:cNvSpPr txBox="1"/>
                <p:nvPr/>
              </p:nvSpPr>
              <p:spPr>
                <a:xfrm>
                  <a:off x="-802" y="5686285"/>
                  <a:ext cx="1301923" cy="39123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fr-CH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CH" i="1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sSub>
                              <m:sSubPr>
                                <m:ctrlPr>
                                  <a:rPr lang="fr-CH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H" i="1">
                                    <a:latin typeface="Cambria Math" panose="02040503050406030204" pitchFamily="18" charset="0"/>
                                  </a:rPr>
                                  <m:t>𝑝</m:t>
                                </m:r>
                              </m:e>
                              <m:sub>
                                <m:r>
                                  <a:rPr lang="fr-CH" b="0" i="1" smtClean="0">
                                    <a:latin typeface="Cambria Math" panose="02040503050406030204" pitchFamily="18" charset="0"/>
                                  </a:rPr>
                                  <m:t>𝑟𝑤𝑠</m:t>
                                </m:r>
                              </m:sub>
                            </m:sSub>
                          </m:sub>
                        </m:sSub>
                        <m:d>
                          <m:dPr>
                            <m:ctrlPr>
                              <a:rPr lang="fr-CH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r-CH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∙| </m:t>
                            </m:r>
                            <m:r>
                              <a:rPr lang="fr-CH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𝒙</m:t>
                            </m:r>
                          </m:e>
                        </m:d>
                      </m:oMath>
                    </m:oMathPara>
                  </a14:m>
                  <a:endParaRPr lang="en-CH" dirty="0"/>
                </a:p>
              </p:txBody>
            </p:sp>
          </mc:Choice>
          <mc:Fallback xmlns="">
            <p:sp>
              <p:nvSpPr>
                <p:cNvPr id="168" name="TextBox 167">
                  <a:extLst>
                    <a:ext uri="{FF2B5EF4-FFF2-40B4-BE49-F238E27FC236}">
                      <a16:creationId xmlns:a16="http://schemas.microsoft.com/office/drawing/2014/main" id="{14D9C122-E283-4B0F-92E7-533D8591F5B5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-802" y="5686285"/>
                  <a:ext cx="1301923" cy="391234"/>
                </a:xfrm>
                <a:prstGeom prst="rect">
                  <a:avLst/>
                </a:prstGeom>
                <a:blipFill>
                  <a:blip r:embed="rId8"/>
                  <a:stretch>
                    <a:fillRect b="-7813"/>
                  </a:stretch>
                </a:blipFill>
              </p:spPr>
              <p:txBody>
                <a:bodyPr/>
                <a:lstStyle/>
                <a:p>
                  <a:r>
                    <a:rPr lang="en-CH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69" name="TextBox 168">
              <a:extLst>
                <a:ext uri="{FF2B5EF4-FFF2-40B4-BE49-F238E27FC236}">
                  <a16:creationId xmlns="" xmlns:a16="http://schemas.microsoft.com/office/drawing/2014/main" id="{590F220B-2534-99A9-7282-7E8D68C06293}"/>
                </a:ext>
              </a:extLst>
            </p:cNvPr>
            <p:cNvSpPr txBox="1"/>
            <p:nvPr/>
          </p:nvSpPr>
          <p:spPr>
            <a:xfrm>
              <a:off x="644765" y="2746320"/>
              <a:ext cx="531023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512</a:t>
              </a:r>
              <a:endParaRPr lang="en-CH" sz="1400" dirty="0"/>
            </a:p>
          </p:txBody>
        </p:sp>
        <p:sp>
          <p:nvSpPr>
            <p:cNvPr id="170" name="TextBox 169">
              <a:extLst>
                <a:ext uri="{FF2B5EF4-FFF2-40B4-BE49-F238E27FC236}">
                  <a16:creationId xmlns="" xmlns:a16="http://schemas.microsoft.com/office/drawing/2014/main" id="{567BD442-7EB1-B3F0-35ED-E122D89AADB2}"/>
                </a:ext>
              </a:extLst>
            </p:cNvPr>
            <p:cNvSpPr txBox="1"/>
            <p:nvPr/>
          </p:nvSpPr>
          <p:spPr>
            <a:xfrm>
              <a:off x="728163" y="4745478"/>
              <a:ext cx="364226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98</a:t>
              </a:r>
              <a:endParaRPr lang="en-CH" sz="1400" dirty="0"/>
            </a:p>
          </p:txBody>
        </p:sp>
        <p:cxnSp>
          <p:nvCxnSpPr>
            <p:cNvPr id="171" name="Straight Arrow Connector 170">
              <a:extLst>
                <a:ext uri="{FF2B5EF4-FFF2-40B4-BE49-F238E27FC236}">
                  <a16:creationId xmlns="" xmlns:a16="http://schemas.microsoft.com/office/drawing/2014/main" id="{1D564134-2A09-2446-BEB1-97C393857D68}"/>
                </a:ext>
              </a:extLst>
            </p:cNvPr>
            <p:cNvCxnSpPr>
              <a:cxnSpLocks/>
            </p:cNvCxnSpPr>
            <p:nvPr/>
          </p:nvCxnSpPr>
          <p:spPr>
            <a:xfrm>
              <a:off x="637958" y="2764790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Arrow Connector 171">
              <a:extLst>
                <a:ext uri="{FF2B5EF4-FFF2-40B4-BE49-F238E27FC236}">
                  <a16:creationId xmlns="" xmlns:a16="http://schemas.microsoft.com/office/drawing/2014/main" id="{95404911-7A2A-E171-65A4-D20CA5FEB4C9}"/>
                </a:ext>
              </a:extLst>
            </p:cNvPr>
            <p:cNvCxnSpPr>
              <a:cxnSpLocks/>
            </p:cNvCxnSpPr>
            <p:nvPr/>
          </p:nvCxnSpPr>
          <p:spPr>
            <a:xfrm>
              <a:off x="637958" y="4758995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3" name="TextBox 172">
              <a:extLst>
                <a:ext uri="{FF2B5EF4-FFF2-40B4-BE49-F238E27FC236}">
                  <a16:creationId xmlns="" xmlns:a16="http://schemas.microsoft.com/office/drawing/2014/main" id="{C734C60A-7888-FB60-1C46-D372D1930100}"/>
                </a:ext>
              </a:extLst>
            </p:cNvPr>
            <p:cNvSpPr txBox="1"/>
            <p:nvPr/>
          </p:nvSpPr>
          <p:spPr>
            <a:xfrm>
              <a:off x="177246" y="5029855"/>
              <a:ext cx="921422" cy="357473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Softmax</a:t>
              </a:r>
              <a:endParaRPr lang="en-CH" dirty="0"/>
            </a:p>
          </p:txBody>
        </p:sp>
        <p:cxnSp>
          <p:nvCxnSpPr>
            <p:cNvPr id="174" name="Straight Arrow Connector 173">
              <a:extLst>
                <a:ext uri="{FF2B5EF4-FFF2-40B4-BE49-F238E27FC236}">
                  <a16:creationId xmlns="" xmlns:a16="http://schemas.microsoft.com/office/drawing/2014/main" id="{8DC36C93-F63C-B35C-17F4-EBCF0BA6DD83}"/>
                </a:ext>
              </a:extLst>
            </p:cNvPr>
            <p:cNvCxnSpPr>
              <a:cxnSpLocks/>
            </p:cNvCxnSpPr>
            <p:nvPr/>
          </p:nvCxnSpPr>
          <p:spPr>
            <a:xfrm>
              <a:off x="637958" y="5403461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5" name="TextBox 174">
              <a:extLst>
                <a:ext uri="{FF2B5EF4-FFF2-40B4-BE49-F238E27FC236}">
                  <a16:creationId xmlns="" xmlns:a16="http://schemas.microsoft.com/office/drawing/2014/main" id="{578BF8A8-C4E4-7937-7EA1-FD9E6B71C70B}"/>
                </a:ext>
              </a:extLst>
            </p:cNvPr>
            <p:cNvSpPr txBox="1"/>
            <p:nvPr/>
          </p:nvSpPr>
          <p:spPr>
            <a:xfrm>
              <a:off x="641361" y="3434008"/>
              <a:ext cx="531023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512</a:t>
              </a:r>
              <a:endParaRPr lang="en-CH" sz="1400" dirty="0"/>
            </a:p>
          </p:txBody>
        </p:sp>
        <p:cxnSp>
          <p:nvCxnSpPr>
            <p:cNvPr id="176" name="Straight Arrow Connector 175">
              <a:extLst>
                <a:ext uri="{FF2B5EF4-FFF2-40B4-BE49-F238E27FC236}">
                  <a16:creationId xmlns="" xmlns:a16="http://schemas.microsoft.com/office/drawing/2014/main" id="{BFCFEE56-9403-895E-96C3-E6EC97368314}"/>
                </a:ext>
              </a:extLst>
            </p:cNvPr>
            <p:cNvCxnSpPr>
              <a:cxnSpLocks/>
            </p:cNvCxnSpPr>
            <p:nvPr/>
          </p:nvCxnSpPr>
          <p:spPr>
            <a:xfrm>
              <a:off x="634554" y="3452477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7" name="TextBox 176">
              <a:extLst>
                <a:ext uri="{FF2B5EF4-FFF2-40B4-BE49-F238E27FC236}">
                  <a16:creationId xmlns="" xmlns:a16="http://schemas.microsoft.com/office/drawing/2014/main" id="{921DE336-75E6-C667-1B07-903ACB9C02D8}"/>
                </a:ext>
              </a:extLst>
            </p:cNvPr>
            <p:cNvSpPr txBox="1"/>
            <p:nvPr/>
          </p:nvSpPr>
          <p:spPr>
            <a:xfrm>
              <a:off x="322666" y="3049376"/>
              <a:ext cx="640161" cy="357473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ReLU</a:t>
              </a:r>
              <a:endParaRPr lang="en-CH" dirty="0"/>
            </a:p>
          </p:txBody>
        </p:sp>
        <p:sp>
          <p:nvSpPr>
            <p:cNvPr id="178" name="TextBox 177">
              <a:extLst>
                <a:ext uri="{FF2B5EF4-FFF2-40B4-BE49-F238E27FC236}">
                  <a16:creationId xmlns="" xmlns:a16="http://schemas.microsoft.com/office/drawing/2014/main" id="{FBF655C1-032C-7422-B3CB-F08838F50F94}"/>
                </a:ext>
              </a:extLst>
            </p:cNvPr>
            <p:cNvSpPr txBox="1"/>
            <p:nvPr/>
          </p:nvSpPr>
          <p:spPr>
            <a:xfrm>
              <a:off x="641361" y="3998814"/>
              <a:ext cx="531023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512</a:t>
              </a:r>
              <a:endParaRPr lang="en-CH" sz="1400" dirty="0"/>
            </a:p>
          </p:txBody>
        </p:sp>
        <p:cxnSp>
          <p:nvCxnSpPr>
            <p:cNvPr id="179" name="Straight Arrow Connector 178">
              <a:extLst>
                <a:ext uri="{FF2B5EF4-FFF2-40B4-BE49-F238E27FC236}">
                  <a16:creationId xmlns="" xmlns:a16="http://schemas.microsoft.com/office/drawing/2014/main" id="{5F59EA29-96D0-3F44-E92C-18A75BFEE7A8}"/>
                </a:ext>
              </a:extLst>
            </p:cNvPr>
            <p:cNvCxnSpPr>
              <a:cxnSpLocks/>
            </p:cNvCxnSpPr>
            <p:nvPr/>
          </p:nvCxnSpPr>
          <p:spPr>
            <a:xfrm>
              <a:off x="634554" y="4009783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0" name="TextBox 179">
              <a:extLst>
                <a:ext uri="{FF2B5EF4-FFF2-40B4-BE49-F238E27FC236}">
                  <a16:creationId xmlns="" xmlns:a16="http://schemas.microsoft.com/office/drawing/2014/main" id="{0DC5D24C-DFD3-DBD8-B542-2AFD03722171}"/>
                </a:ext>
              </a:extLst>
            </p:cNvPr>
            <p:cNvSpPr txBox="1"/>
            <p:nvPr/>
          </p:nvSpPr>
          <p:spPr>
            <a:xfrm>
              <a:off x="412530" y="3708465"/>
              <a:ext cx="444048" cy="3574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dirty="0"/>
                <a:t>BN</a:t>
              </a:r>
              <a:endParaRPr lang="en-CH" dirty="0"/>
            </a:p>
          </p:txBody>
        </p:sp>
        <p:sp>
          <p:nvSpPr>
            <p:cNvPr id="181" name="TextBox 180">
              <a:extLst>
                <a:ext uri="{FF2B5EF4-FFF2-40B4-BE49-F238E27FC236}">
                  <a16:creationId xmlns="" xmlns:a16="http://schemas.microsoft.com/office/drawing/2014/main" id="{7EFD9D37-7D0A-4C69-2BD7-3476117DC1CB}"/>
                </a:ext>
              </a:extLst>
            </p:cNvPr>
            <p:cNvSpPr txBox="1"/>
            <p:nvPr/>
          </p:nvSpPr>
          <p:spPr>
            <a:xfrm>
              <a:off x="728163" y="5398563"/>
              <a:ext cx="364226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98</a:t>
              </a:r>
              <a:endParaRPr lang="en-CH" sz="1400" dirty="0"/>
            </a:p>
          </p:txBody>
        </p:sp>
        <p:sp>
          <p:nvSpPr>
            <p:cNvPr id="182" name="TextBox 181">
              <a:extLst>
                <a:ext uri="{FF2B5EF4-FFF2-40B4-BE49-F238E27FC236}">
                  <a16:creationId xmlns="" xmlns:a16="http://schemas.microsoft.com/office/drawing/2014/main" id="{2030D016-952E-359F-9752-C7E6FB16A6F7}"/>
                </a:ext>
              </a:extLst>
            </p:cNvPr>
            <p:cNvSpPr txBox="1"/>
            <p:nvPr/>
          </p:nvSpPr>
          <p:spPr>
            <a:xfrm>
              <a:off x="252264" y="2404578"/>
              <a:ext cx="776572" cy="357473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p:sp>
          <p:nvSpPr>
            <p:cNvPr id="183" name="TextBox 182">
              <a:extLst>
                <a:ext uri="{FF2B5EF4-FFF2-40B4-BE49-F238E27FC236}">
                  <a16:creationId xmlns="" xmlns:a16="http://schemas.microsoft.com/office/drawing/2014/main" id="{B7C82499-4DB0-AA74-0841-90E22D18214E}"/>
                </a:ext>
              </a:extLst>
            </p:cNvPr>
            <p:cNvSpPr txBox="1"/>
            <p:nvPr/>
          </p:nvSpPr>
          <p:spPr>
            <a:xfrm>
              <a:off x="259235" y="4346763"/>
              <a:ext cx="776572" cy="357473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7" name="TextBox 236">
                  <a:extLst>
                    <a:ext uri="{FF2B5EF4-FFF2-40B4-BE49-F238E27FC236}">
                      <a16:creationId xmlns="" xmlns:a16="http://schemas.microsoft.com/office/drawing/2014/main" id="{FB5441B0-E0F2-883C-A34D-4CFBBB8E6A39}"/>
                    </a:ext>
                  </a:extLst>
                </p:cNvPr>
                <p:cNvSpPr txBox="1"/>
                <p:nvPr/>
              </p:nvSpPr>
              <p:spPr>
                <a:xfrm>
                  <a:off x="4678020" y="5686285"/>
                  <a:ext cx="1301923" cy="39651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fr-CH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CH" i="1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sSub>
                              <m:sSubPr>
                                <m:ctrlPr>
                                  <a:rPr lang="fr-CH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H" i="1">
                                    <a:latin typeface="Cambria Math" panose="02040503050406030204" pitchFamily="18" charset="0"/>
                                  </a:rPr>
                                  <m:t>𝑝</m:t>
                                </m:r>
                              </m:e>
                              <m:sub>
                                <m:r>
                                  <a:rPr lang="fr-CH" b="0" i="1" smtClean="0">
                                    <a:latin typeface="Cambria Math" panose="02040503050406030204" pitchFamily="18" charset="0"/>
                                  </a:rPr>
                                  <m:t>𝑟𝑜𝑢𝑛𝑑</m:t>
                                </m:r>
                              </m:sub>
                            </m:sSub>
                          </m:sub>
                        </m:sSub>
                        <m:d>
                          <m:dPr>
                            <m:ctrlPr>
                              <a:rPr lang="fr-CH" i="1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r-CH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∙| </m:t>
                            </m:r>
                            <m:r>
                              <a:rPr lang="fr-CH" b="1" i="1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𝒙</m:t>
                            </m:r>
                          </m:e>
                        </m:d>
                      </m:oMath>
                    </m:oMathPara>
                  </a14:m>
                  <a:endParaRPr lang="en-CH" dirty="0"/>
                </a:p>
              </p:txBody>
            </p:sp>
          </mc:Choice>
          <mc:Fallback xmlns="">
            <p:sp>
              <p:nvSpPr>
                <p:cNvPr id="237" name="TextBox 236">
                  <a:extLst>
                    <a:ext uri="{FF2B5EF4-FFF2-40B4-BE49-F238E27FC236}">
                      <a16:creationId xmlns:a16="http://schemas.microsoft.com/office/drawing/2014/main" id="{FB5441B0-E0F2-883C-A34D-4CFBBB8E6A3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4678020" y="5686285"/>
                  <a:ext cx="1301923" cy="396519"/>
                </a:xfrm>
                <a:prstGeom prst="rect">
                  <a:avLst/>
                </a:prstGeom>
                <a:blipFill>
                  <a:blip r:embed="rId9"/>
                  <a:stretch>
                    <a:fillRect l="-1402" b="-6154"/>
                  </a:stretch>
                </a:blipFill>
              </p:spPr>
              <p:txBody>
                <a:bodyPr/>
                <a:lstStyle/>
                <a:p>
                  <a:r>
                    <a:rPr lang="en-CH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38" name="TextBox 237">
              <a:extLst>
                <a:ext uri="{FF2B5EF4-FFF2-40B4-BE49-F238E27FC236}">
                  <a16:creationId xmlns="" xmlns:a16="http://schemas.microsoft.com/office/drawing/2014/main" id="{6F74E6F4-FEB3-CA78-F25E-A4C49038BEF0}"/>
                </a:ext>
              </a:extLst>
            </p:cNvPr>
            <p:cNvSpPr txBox="1"/>
            <p:nvPr/>
          </p:nvSpPr>
          <p:spPr>
            <a:xfrm>
              <a:off x="5323587" y="2746320"/>
              <a:ext cx="531023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512</a:t>
              </a:r>
              <a:endParaRPr lang="en-CH" sz="1400" dirty="0"/>
            </a:p>
          </p:txBody>
        </p:sp>
        <p:sp>
          <p:nvSpPr>
            <p:cNvPr id="239" name="TextBox 238">
              <a:extLst>
                <a:ext uri="{FF2B5EF4-FFF2-40B4-BE49-F238E27FC236}">
                  <a16:creationId xmlns="" xmlns:a16="http://schemas.microsoft.com/office/drawing/2014/main" id="{A4D8593D-3A6C-A26A-DFDB-C94BBA32B01C}"/>
                </a:ext>
              </a:extLst>
            </p:cNvPr>
            <p:cNvSpPr txBox="1"/>
            <p:nvPr/>
          </p:nvSpPr>
          <p:spPr>
            <a:xfrm>
              <a:off x="5406985" y="4745478"/>
              <a:ext cx="36422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4</a:t>
              </a:r>
              <a:endParaRPr lang="en-CH" sz="1400" dirty="0"/>
            </a:p>
          </p:txBody>
        </p:sp>
        <p:cxnSp>
          <p:nvCxnSpPr>
            <p:cNvPr id="240" name="Straight Arrow Connector 239">
              <a:extLst>
                <a:ext uri="{FF2B5EF4-FFF2-40B4-BE49-F238E27FC236}">
                  <a16:creationId xmlns="" xmlns:a16="http://schemas.microsoft.com/office/drawing/2014/main" id="{1953E949-D25E-B3EA-28D2-291607AE42B0}"/>
                </a:ext>
              </a:extLst>
            </p:cNvPr>
            <p:cNvCxnSpPr>
              <a:cxnSpLocks/>
            </p:cNvCxnSpPr>
            <p:nvPr/>
          </p:nvCxnSpPr>
          <p:spPr>
            <a:xfrm>
              <a:off x="5316780" y="2764790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Arrow Connector 240">
              <a:extLst>
                <a:ext uri="{FF2B5EF4-FFF2-40B4-BE49-F238E27FC236}">
                  <a16:creationId xmlns="" xmlns:a16="http://schemas.microsoft.com/office/drawing/2014/main" id="{87BA9721-7945-38F2-B43D-AB99EE2902A9}"/>
                </a:ext>
              </a:extLst>
            </p:cNvPr>
            <p:cNvCxnSpPr>
              <a:cxnSpLocks/>
            </p:cNvCxnSpPr>
            <p:nvPr/>
          </p:nvCxnSpPr>
          <p:spPr>
            <a:xfrm>
              <a:off x="5316780" y="4758995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2" name="TextBox 241">
              <a:extLst>
                <a:ext uri="{FF2B5EF4-FFF2-40B4-BE49-F238E27FC236}">
                  <a16:creationId xmlns="" xmlns:a16="http://schemas.microsoft.com/office/drawing/2014/main" id="{644293C3-52F4-A597-1D19-DF2141E8DC6C}"/>
                </a:ext>
              </a:extLst>
            </p:cNvPr>
            <p:cNvSpPr txBox="1"/>
            <p:nvPr/>
          </p:nvSpPr>
          <p:spPr>
            <a:xfrm>
              <a:off x="4856068" y="5029855"/>
              <a:ext cx="921422" cy="357473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Softmax</a:t>
              </a:r>
              <a:endParaRPr lang="en-CH" dirty="0"/>
            </a:p>
          </p:txBody>
        </p:sp>
        <p:cxnSp>
          <p:nvCxnSpPr>
            <p:cNvPr id="243" name="Straight Arrow Connector 242">
              <a:extLst>
                <a:ext uri="{FF2B5EF4-FFF2-40B4-BE49-F238E27FC236}">
                  <a16:creationId xmlns="" xmlns:a16="http://schemas.microsoft.com/office/drawing/2014/main" id="{7BAA1A2E-2CCD-98D1-1611-C22551A9A51F}"/>
                </a:ext>
              </a:extLst>
            </p:cNvPr>
            <p:cNvCxnSpPr>
              <a:cxnSpLocks/>
            </p:cNvCxnSpPr>
            <p:nvPr/>
          </p:nvCxnSpPr>
          <p:spPr>
            <a:xfrm>
              <a:off x="5316780" y="5403461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4" name="TextBox 243">
              <a:extLst>
                <a:ext uri="{FF2B5EF4-FFF2-40B4-BE49-F238E27FC236}">
                  <a16:creationId xmlns="" xmlns:a16="http://schemas.microsoft.com/office/drawing/2014/main" id="{3E49E179-6033-B67A-6F10-6C8313546E8B}"/>
                </a:ext>
              </a:extLst>
            </p:cNvPr>
            <p:cNvSpPr txBox="1"/>
            <p:nvPr/>
          </p:nvSpPr>
          <p:spPr>
            <a:xfrm>
              <a:off x="5320183" y="3434008"/>
              <a:ext cx="531023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512</a:t>
              </a:r>
              <a:endParaRPr lang="en-CH" sz="1400" dirty="0"/>
            </a:p>
          </p:txBody>
        </p:sp>
        <p:cxnSp>
          <p:nvCxnSpPr>
            <p:cNvPr id="245" name="Straight Arrow Connector 244">
              <a:extLst>
                <a:ext uri="{FF2B5EF4-FFF2-40B4-BE49-F238E27FC236}">
                  <a16:creationId xmlns="" xmlns:a16="http://schemas.microsoft.com/office/drawing/2014/main" id="{25CFBDFC-FDA7-A2F9-7C01-DAD370054DBC}"/>
                </a:ext>
              </a:extLst>
            </p:cNvPr>
            <p:cNvCxnSpPr>
              <a:cxnSpLocks/>
            </p:cNvCxnSpPr>
            <p:nvPr/>
          </p:nvCxnSpPr>
          <p:spPr>
            <a:xfrm>
              <a:off x="5313376" y="3452477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6" name="TextBox 245">
              <a:extLst>
                <a:ext uri="{FF2B5EF4-FFF2-40B4-BE49-F238E27FC236}">
                  <a16:creationId xmlns="" xmlns:a16="http://schemas.microsoft.com/office/drawing/2014/main" id="{694DF81A-7B8E-E986-A088-4BF54269E33B}"/>
                </a:ext>
              </a:extLst>
            </p:cNvPr>
            <p:cNvSpPr txBox="1"/>
            <p:nvPr/>
          </p:nvSpPr>
          <p:spPr>
            <a:xfrm>
              <a:off x="5001488" y="3049376"/>
              <a:ext cx="640161" cy="357473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ReLU</a:t>
              </a:r>
              <a:endParaRPr lang="en-CH" dirty="0"/>
            </a:p>
          </p:txBody>
        </p:sp>
        <p:sp>
          <p:nvSpPr>
            <p:cNvPr id="247" name="TextBox 246">
              <a:extLst>
                <a:ext uri="{FF2B5EF4-FFF2-40B4-BE49-F238E27FC236}">
                  <a16:creationId xmlns="" xmlns:a16="http://schemas.microsoft.com/office/drawing/2014/main" id="{BDEB08CE-0ACC-9A4E-EBE4-1FDC3A312978}"/>
                </a:ext>
              </a:extLst>
            </p:cNvPr>
            <p:cNvSpPr txBox="1"/>
            <p:nvPr/>
          </p:nvSpPr>
          <p:spPr>
            <a:xfrm>
              <a:off x="5320183" y="3998814"/>
              <a:ext cx="531023" cy="2978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512</a:t>
              </a:r>
              <a:endParaRPr lang="en-CH" sz="1400" dirty="0"/>
            </a:p>
          </p:txBody>
        </p:sp>
        <p:cxnSp>
          <p:nvCxnSpPr>
            <p:cNvPr id="248" name="Straight Arrow Connector 247">
              <a:extLst>
                <a:ext uri="{FF2B5EF4-FFF2-40B4-BE49-F238E27FC236}">
                  <a16:creationId xmlns="" xmlns:a16="http://schemas.microsoft.com/office/drawing/2014/main" id="{E9913985-6CF4-7EC3-CBA0-62A0067CFAEB}"/>
                </a:ext>
              </a:extLst>
            </p:cNvPr>
            <p:cNvCxnSpPr>
              <a:cxnSpLocks/>
            </p:cNvCxnSpPr>
            <p:nvPr/>
          </p:nvCxnSpPr>
          <p:spPr>
            <a:xfrm>
              <a:off x="5313376" y="4009783"/>
              <a:ext cx="0" cy="270860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9" name="TextBox 248">
              <a:extLst>
                <a:ext uri="{FF2B5EF4-FFF2-40B4-BE49-F238E27FC236}">
                  <a16:creationId xmlns="" xmlns:a16="http://schemas.microsoft.com/office/drawing/2014/main" id="{17ED160D-A3E3-2EC2-B708-396AC4A44235}"/>
                </a:ext>
              </a:extLst>
            </p:cNvPr>
            <p:cNvSpPr txBox="1"/>
            <p:nvPr/>
          </p:nvSpPr>
          <p:spPr>
            <a:xfrm>
              <a:off x="5091352" y="3708465"/>
              <a:ext cx="444048" cy="3574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dirty="0"/>
                <a:t>BN</a:t>
              </a:r>
              <a:endParaRPr lang="en-CH" dirty="0"/>
            </a:p>
          </p:txBody>
        </p:sp>
        <p:sp>
          <p:nvSpPr>
            <p:cNvPr id="250" name="TextBox 249">
              <a:extLst>
                <a:ext uri="{FF2B5EF4-FFF2-40B4-BE49-F238E27FC236}">
                  <a16:creationId xmlns="" xmlns:a16="http://schemas.microsoft.com/office/drawing/2014/main" id="{BE0FFCB6-1020-45F4-CBD7-B7DA87C79622}"/>
                </a:ext>
              </a:extLst>
            </p:cNvPr>
            <p:cNvSpPr txBox="1"/>
            <p:nvPr/>
          </p:nvSpPr>
          <p:spPr>
            <a:xfrm>
              <a:off x="5406985" y="5398563"/>
              <a:ext cx="36422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4</a:t>
              </a:r>
              <a:endParaRPr lang="en-CH" sz="1400" dirty="0"/>
            </a:p>
          </p:txBody>
        </p:sp>
        <p:sp>
          <p:nvSpPr>
            <p:cNvPr id="251" name="TextBox 250">
              <a:extLst>
                <a:ext uri="{FF2B5EF4-FFF2-40B4-BE49-F238E27FC236}">
                  <a16:creationId xmlns="" xmlns:a16="http://schemas.microsoft.com/office/drawing/2014/main" id="{E6AA4293-E376-88B7-FBCA-D58284EB968F}"/>
                </a:ext>
              </a:extLst>
            </p:cNvPr>
            <p:cNvSpPr txBox="1"/>
            <p:nvPr/>
          </p:nvSpPr>
          <p:spPr>
            <a:xfrm>
              <a:off x="4931086" y="2404578"/>
              <a:ext cx="776572" cy="357473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p:sp>
          <p:nvSpPr>
            <p:cNvPr id="252" name="TextBox 251">
              <a:extLst>
                <a:ext uri="{FF2B5EF4-FFF2-40B4-BE49-F238E27FC236}">
                  <a16:creationId xmlns="" xmlns:a16="http://schemas.microsoft.com/office/drawing/2014/main" id="{EDEFEF04-5171-7235-A99B-4E19678911E7}"/>
                </a:ext>
              </a:extLst>
            </p:cNvPr>
            <p:cNvSpPr txBox="1"/>
            <p:nvPr/>
          </p:nvSpPr>
          <p:spPr>
            <a:xfrm>
              <a:off x="4938057" y="4346763"/>
              <a:ext cx="776572" cy="357473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p:cxnSp>
          <p:nvCxnSpPr>
            <p:cNvPr id="253" name="Straight Arrow Connector 252">
              <a:extLst>
                <a:ext uri="{FF2B5EF4-FFF2-40B4-BE49-F238E27FC236}">
                  <a16:creationId xmlns="" xmlns:a16="http://schemas.microsoft.com/office/drawing/2014/main" id="{AD86BCEB-2DCA-60A2-BE15-74C77FFFC74B}"/>
                </a:ext>
              </a:extLst>
            </p:cNvPr>
            <p:cNvCxnSpPr>
              <a:cxnSpLocks/>
              <a:endCxn id="182" idx="0"/>
            </p:cNvCxnSpPr>
            <p:nvPr/>
          </p:nvCxnSpPr>
          <p:spPr>
            <a:xfrm flipH="1">
              <a:off x="640550" y="2192841"/>
              <a:ext cx="5442598" cy="211737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Arrow Connector 254">
              <a:extLst>
                <a:ext uri="{FF2B5EF4-FFF2-40B4-BE49-F238E27FC236}">
                  <a16:creationId xmlns="" xmlns:a16="http://schemas.microsoft.com/office/drawing/2014/main" id="{379F054E-901C-A52B-BA12-69A0E9AB4BB5}"/>
                </a:ext>
              </a:extLst>
            </p:cNvPr>
            <p:cNvCxnSpPr>
              <a:cxnSpLocks/>
              <a:endCxn id="251" idx="0"/>
            </p:cNvCxnSpPr>
            <p:nvPr/>
          </p:nvCxnSpPr>
          <p:spPr>
            <a:xfrm flipH="1">
              <a:off x="5319372" y="2198994"/>
              <a:ext cx="770584" cy="205584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Arrow Connector 256">
              <a:extLst>
                <a:ext uri="{FF2B5EF4-FFF2-40B4-BE49-F238E27FC236}">
                  <a16:creationId xmlns="" xmlns:a16="http://schemas.microsoft.com/office/drawing/2014/main" id="{C6FF4277-A4AB-CC2B-1F92-1FE48F54080A}"/>
                </a:ext>
              </a:extLst>
            </p:cNvPr>
            <p:cNvCxnSpPr>
              <a:cxnSpLocks/>
              <a:endCxn id="126" idx="0"/>
            </p:cNvCxnSpPr>
            <p:nvPr/>
          </p:nvCxnSpPr>
          <p:spPr>
            <a:xfrm>
              <a:off x="6096760" y="2192645"/>
              <a:ext cx="1980849" cy="211933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03852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964800"/>
            <a:ext cx="10515600" cy="656591"/>
          </a:xfrm>
        </p:spPr>
        <p:txBody>
          <a:bodyPr/>
          <a:lstStyle/>
          <a:p>
            <a:r>
              <a:rPr lang="en-US" dirty="0"/>
              <a:t>Table of Content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Context</a:t>
            </a:r>
            <a:endParaRPr lang="en-US" dirty="0"/>
          </a:p>
          <a:p>
            <a:r>
              <a:rPr lang="en-US" dirty="0">
                <a:solidFill>
                  <a:schemeClr val="accent3"/>
                </a:solidFill>
              </a:rPr>
              <a:t>Attack</a:t>
            </a:r>
            <a:r>
              <a:rPr lang="en-US" dirty="0"/>
              <a:t> results</a:t>
            </a:r>
          </a:p>
          <a:p>
            <a:r>
              <a:rPr lang="en-US" dirty="0">
                <a:solidFill>
                  <a:schemeClr val="accent2"/>
                </a:solidFill>
              </a:rPr>
              <a:t>Defense</a:t>
            </a:r>
            <a:r>
              <a:rPr lang="en-US" dirty="0"/>
              <a:t> and its effectiveness</a:t>
            </a:r>
          </a:p>
          <a:p>
            <a:r>
              <a:rPr lang="en-US" dirty="0"/>
              <a:t>Deep Learning to </a:t>
            </a:r>
            <a:r>
              <a:rPr lang="en-US" dirty="0">
                <a:solidFill>
                  <a:schemeClr val="accent3"/>
                </a:solidFill>
              </a:rPr>
              <a:t>bypass</a:t>
            </a:r>
            <a:r>
              <a:rPr lang="en-US" dirty="0"/>
              <a:t> countermeasures</a:t>
            </a:r>
          </a:p>
          <a:p>
            <a:r>
              <a:rPr lang="en-US" dirty="0" smtClean="0"/>
              <a:t>Conclusion </a:t>
            </a:r>
            <a:r>
              <a:rPr lang="en-US" dirty="0"/>
              <a:t>and future work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017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72"/>
    </mc:Choice>
    <mc:Fallback xmlns="">
      <p:transition spd="slow" advTm="3072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" name="Group 103">
            <a:extLst>
              <a:ext uri="{FF2B5EF4-FFF2-40B4-BE49-F238E27FC236}">
                <a16:creationId xmlns="" xmlns:a16="http://schemas.microsoft.com/office/drawing/2014/main" id="{6F9DA5A2-C9F3-64DC-3BE8-B5485B65FCD4}"/>
              </a:ext>
            </a:extLst>
          </p:cNvPr>
          <p:cNvGrpSpPr/>
          <p:nvPr/>
        </p:nvGrpSpPr>
        <p:grpSpPr>
          <a:xfrm>
            <a:off x="2884060" y="53463"/>
            <a:ext cx="3203249" cy="5867228"/>
            <a:chOff x="30089" y="515924"/>
            <a:chExt cx="3203249" cy="5867228"/>
          </a:xfrm>
        </p:grpSpPr>
        <p:sp>
          <p:nvSpPr>
            <p:cNvPr id="3" name="TextBox 2">
              <a:extLst>
                <a:ext uri="{FF2B5EF4-FFF2-40B4-BE49-F238E27FC236}">
                  <a16:creationId xmlns="" xmlns:a16="http://schemas.microsoft.com/office/drawing/2014/main" id="{48467868-2449-DC10-DD32-3B102F5A44A3}"/>
                </a:ext>
              </a:extLst>
            </p:cNvPr>
            <p:cNvSpPr txBox="1"/>
            <p:nvPr/>
          </p:nvSpPr>
          <p:spPr>
            <a:xfrm>
              <a:off x="696283" y="1586391"/>
              <a:ext cx="1870864" cy="646331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 err="1"/>
                <a:t>ResNet</a:t>
              </a:r>
              <a:endParaRPr lang="fr-CH" dirty="0"/>
            </a:p>
            <a:p>
              <a:pPr algn="ctr"/>
              <a:r>
                <a:rPr lang="fr-CH" dirty="0"/>
                <a:t>10 </a:t>
              </a:r>
              <a:r>
                <a:rPr lang="fr-CH" dirty="0" err="1"/>
                <a:t>residual</a:t>
              </a:r>
              <a:r>
                <a:rPr lang="fr-CH" dirty="0"/>
                <a:t> blocks</a:t>
              </a:r>
              <a:endParaRPr lang="en-CH" dirty="0"/>
            </a:p>
          </p:txBody>
        </p:sp>
        <p:sp>
          <p:nvSpPr>
            <p:cNvPr id="4" name="TextBox 3">
              <a:extLst>
                <a:ext uri="{FF2B5EF4-FFF2-40B4-BE49-F238E27FC236}">
                  <a16:creationId xmlns="" xmlns:a16="http://schemas.microsoft.com/office/drawing/2014/main" id="{370D67FC-6B77-1C3E-0577-FFEFDC667B67}"/>
                </a:ext>
              </a:extLst>
            </p:cNvPr>
            <p:cNvSpPr txBox="1"/>
            <p:nvPr/>
          </p:nvSpPr>
          <p:spPr>
            <a:xfrm>
              <a:off x="1638750" y="1255730"/>
              <a:ext cx="81592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9850</a:t>
              </a:r>
              <a:endParaRPr lang="en-CH" sz="1400" dirty="0"/>
            </a:p>
          </p:txBody>
        </p:sp>
        <p:sp>
          <p:nvSpPr>
            <p:cNvPr id="5" name="TextBox 4">
              <a:extLst>
                <a:ext uri="{FF2B5EF4-FFF2-40B4-BE49-F238E27FC236}">
                  <a16:creationId xmlns="" xmlns:a16="http://schemas.microsoft.com/office/drawing/2014/main" id="{915B382A-6A03-F33C-A0F6-74D72A29E9BF}"/>
                </a:ext>
              </a:extLst>
            </p:cNvPr>
            <p:cNvSpPr txBox="1"/>
            <p:nvPr/>
          </p:nvSpPr>
          <p:spPr>
            <a:xfrm>
              <a:off x="1642265" y="2249391"/>
              <a:ext cx="5486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2304</a:t>
              </a:r>
              <a:endParaRPr lang="en-CH" sz="1400" dirty="0"/>
            </a:p>
          </p:txBody>
        </p:sp>
        <p:sp>
          <p:nvSpPr>
            <p:cNvPr id="10" name="TextBox 9">
              <a:extLst>
                <a:ext uri="{FF2B5EF4-FFF2-40B4-BE49-F238E27FC236}">
                  <a16:creationId xmlns="" xmlns:a16="http://schemas.microsoft.com/office/drawing/2014/main" id="{B80566C9-12DB-EAD8-3BDE-8501A28EF58B}"/>
                </a:ext>
              </a:extLst>
            </p:cNvPr>
            <p:cNvSpPr txBox="1"/>
            <p:nvPr/>
          </p:nvSpPr>
          <p:spPr>
            <a:xfrm>
              <a:off x="1330009" y="867063"/>
              <a:ext cx="61747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dirty="0"/>
                <a:t>RWS</a:t>
              </a:r>
              <a:endParaRPr lang="en-CH" dirty="0"/>
            </a:p>
          </p:txBody>
        </p:sp>
        <p:cxnSp>
          <p:nvCxnSpPr>
            <p:cNvPr id="12" name="Straight Arrow Connector 11">
              <a:extLst>
                <a:ext uri="{FF2B5EF4-FFF2-40B4-BE49-F238E27FC236}">
                  <a16:creationId xmlns="" xmlns:a16="http://schemas.microsoft.com/office/drawing/2014/main" id="{0D8E8D01-5B70-E107-7CDE-D3E9EFB1CE7C}"/>
                </a:ext>
              </a:extLst>
            </p:cNvPr>
            <p:cNvCxnSpPr>
              <a:cxnSpLocks/>
            </p:cNvCxnSpPr>
            <p:nvPr/>
          </p:nvCxnSpPr>
          <p:spPr>
            <a:xfrm>
              <a:off x="1638750" y="1255730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="" xmlns:a16="http://schemas.microsoft.com/office/drawing/2014/main" id="{DA34640C-21BF-FFD5-A9A7-64F9EE78A35C}"/>
                </a:ext>
              </a:extLst>
            </p:cNvPr>
            <p:cNvSpPr txBox="1"/>
            <p:nvPr/>
          </p:nvSpPr>
          <p:spPr>
            <a:xfrm>
              <a:off x="696283" y="2568410"/>
              <a:ext cx="1870863" cy="369332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="" xmlns:a16="http://schemas.microsoft.com/office/drawing/2014/main" id="{519FBEE0-C313-CE5D-C336-D74D55FA46E2}"/>
                </a:ext>
              </a:extLst>
            </p:cNvPr>
            <p:cNvSpPr txBox="1"/>
            <p:nvPr/>
          </p:nvSpPr>
          <p:spPr>
            <a:xfrm>
              <a:off x="1642265" y="2943074"/>
              <a:ext cx="5486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024</a:t>
              </a:r>
              <a:endParaRPr lang="en-CH" sz="1400" dirty="0"/>
            </a:p>
          </p:txBody>
        </p:sp>
        <p:cxnSp>
          <p:nvCxnSpPr>
            <p:cNvPr id="21" name="Straight Arrow Connector 20">
              <a:extLst>
                <a:ext uri="{FF2B5EF4-FFF2-40B4-BE49-F238E27FC236}">
                  <a16:creationId xmlns="" xmlns:a16="http://schemas.microsoft.com/office/drawing/2014/main" id="{81F0796B-6124-575C-A049-C66EC2F76AF9}"/>
                </a:ext>
              </a:extLst>
            </p:cNvPr>
            <p:cNvCxnSpPr>
              <a:cxnSpLocks/>
            </p:cNvCxnSpPr>
            <p:nvPr/>
          </p:nvCxnSpPr>
          <p:spPr>
            <a:xfrm>
              <a:off x="1638749" y="2263254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="" xmlns:a16="http://schemas.microsoft.com/office/drawing/2014/main" id="{5E1A6FA3-450D-882B-E55F-FCEC722EFBBC}"/>
                </a:ext>
              </a:extLst>
            </p:cNvPr>
            <p:cNvSpPr txBox="1"/>
            <p:nvPr/>
          </p:nvSpPr>
          <p:spPr>
            <a:xfrm>
              <a:off x="696283" y="4611784"/>
              <a:ext cx="1870863" cy="369332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="" xmlns:a16="http://schemas.microsoft.com/office/drawing/2014/main" id="{9A15C805-A6D5-3C06-BDA5-CD974493CB4B}"/>
                </a:ext>
              </a:extLst>
            </p:cNvPr>
            <p:cNvSpPr txBox="1"/>
            <p:nvPr/>
          </p:nvSpPr>
          <p:spPr>
            <a:xfrm>
              <a:off x="1728430" y="5008555"/>
              <a:ext cx="37631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98</a:t>
              </a:r>
              <a:endParaRPr lang="en-CH" sz="1400" dirty="0"/>
            </a:p>
          </p:txBody>
        </p:sp>
        <p:cxnSp>
          <p:nvCxnSpPr>
            <p:cNvPr id="24" name="Straight Arrow Connector 23">
              <a:extLst>
                <a:ext uri="{FF2B5EF4-FFF2-40B4-BE49-F238E27FC236}">
                  <a16:creationId xmlns="" xmlns:a16="http://schemas.microsoft.com/office/drawing/2014/main" id="{03B25158-D3DC-05B9-7C4A-5801AC2860CA}"/>
                </a:ext>
              </a:extLst>
            </p:cNvPr>
            <p:cNvCxnSpPr>
              <a:cxnSpLocks/>
            </p:cNvCxnSpPr>
            <p:nvPr/>
          </p:nvCxnSpPr>
          <p:spPr>
            <a:xfrm>
              <a:off x="1635232" y="2962156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="" xmlns:a16="http://schemas.microsoft.com/office/drawing/2014/main" id="{7F90947C-F272-B557-794F-DA861ED12964}"/>
                </a:ext>
              </a:extLst>
            </p:cNvPr>
            <p:cNvCxnSpPr>
              <a:cxnSpLocks/>
            </p:cNvCxnSpPr>
            <p:nvPr/>
          </p:nvCxnSpPr>
          <p:spPr>
            <a:xfrm>
              <a:off x="1635232" y="5022520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>
              <a:extLst>
                <a:ext uri="{FF2B5EF4-FFF2-40B4-BE49-F238E27FC236}">
                  <a16:creationId xmlns="" xmlns:a16="http://schemas.microsoft.com/office/drawing/2014/main" id="{3E7C058E-AB30-6D83-34BC-6A2EE4473A38}"/>
                </a:ext>
              </a:extLst>
            </p:cNvPr>
            <p:cNvSpPr txBox="1"/>
            <p:nvPr/>
          </p:nvSpPr>
          <p:spPr>
            <a:xfrm>
              <a:off x="1159236" y="5302366"/>
              <a:ext cx="951992" cy="369332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Softmax</a:t>
              </a:r>
              <a:endParaRPr lang="en-CH" dirty="0"/>
            </a:p>
          </p:txBody>
        </p:sp>
        <p:cxnSp>
          <p:nvCxnSpPr>
            <p:cNvPr id="27" name="Straight Arrow Connector 26">
              <a:extLst>
                <a:ext uri="{FF2B5EF4-FFF2-40B4-BE49-F238E27FC236}">
                  <a16:creationId xmlns="" xmlns:a16="http://schemas.microsoft.com/office/drawing/2014/main" id="{A8BF70B4-BCB8-381A-E4D5-8DC39A6DF58D}"/>
                </a:ext>
              </a:extLst>
            </p:cNvPr>
            <p:cNvCxnSpPr>
              <a:cxnSpLocks/>
            </p:cNvCxnSpPr>
            <p:nvPr/>
          </p:nvCxnSpPr>
          <p:spPr>
            <a:xfrm>
              <a:off x="1635232" y="5688367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8" name="TextBox 27">
                  <a:extLst>
                    <a:ext uri="{FF2B5EF4-FFF2-40B4-BE49-F238E27FC236}">
                      <a16:creationId xmlns="" xmlns:a16="http://schemas.microsoft.com/office/drawing/2014/main" id="{72C8EAB9-F625-1118-A384-638E4FCE2A63}"/>
                    </a:ext>
                  </a:extLst>
                </p:cNvPr>
                <p:cNvSpPr txBox="1"/>
                <p:nvPr/>
              </p:nvSpPr>
              <p:spPr>
                <a:xfrm>
                  <a:off x="1000282" y="5988620"/>
                  <a:ext cx="1269899" cy="3945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fr-CH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CH" b="0" i="1" smtClean="0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sSub>
                              <m:sSubPr>
                                <m:ctrlPr>
                                  <a:rPr lang="fr-CH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H" b="0" i="1" smtClean="0">
                                    <a:latin typeface="Cambria Math" panose="02040503050406030204" pitchFamily="18" charset="0"/>
                                  </a:rPr>
                                  <m:t>𝑝</m:t>
                                </m:r>
                              </m:e>
                              <m:sub>
                                <m:r>
                                  <a:rPr lang="fr-CH" b="0" i="1" smtClean="0">
                                    <a:latin typeface="Cambria Math" panose="02040503050406030204" pitchFamily="18" charset="0"/>
                                  </a:rPr>
                                  <m:t>𝑟𝑤𝑠</m:t>
                                </m:r>
                              </m:sub>
                            </m:sSub>
                          </m:sub>
                        </m:sSub>
                        <m:d>
                          <m:dPr>
                            <m:ctrlPr>
                              <a:rPr lang="fr-CH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r-CH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∙| </m:t>
                            </m:r>
                            <m:r>
                              <a:rPr lang="fr-CH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𝒙</m:t>
                            </m:r>
                          </m:e>
                        </m:d>
                      </m:oMath>
                    </m:oMathPara>
                  </a14:m>
                  <a:endParaRPr lang="en-CH" dirty="0"/>
                </a:p>
              </p:txBody>
            </p:sp>
          </mc:Choice>
          <mc:Fallback xmlns="">
            <p:sp>
              <p:nvSpPr>
                <p:cNvPr id="28" name="TextBox 27">
                  <a:extLst>
                    <a:ext uri="{FF2B5EF4-FFF2-40B4-BE49-F238E27FC236}">
                      <a16:creationId xmlns:a16="http://schemas.microsoft.com/office/drawing/2014/main" id="{72C8EAB9-F625-1118-A384-638E4FCE2A6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00282" y="5988620"/>
                  <a:ext cx="1269899" cy="394532"/>
                </a:xfrm>
                <a:prstGeom prst="rect">
                  <a:avLst/>
                </a:prstGeom>
                <a:blipFill>
                  <a:blip r:embed="rId2"/>
                  <a:stretch>
                    <a:fillRect b="-7692"/>
                  </a:stretch>
                </a:blipFill>
              </p:spPr>
              <p:txBody>
                <a:bodyPr/>
                <a:lstStyle/>
                <a:p>
                  <a:r>
                    <a:rPr lang="en-CH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30" name="TextBox 29">
              <a:extLst>
                <a:ext uri="{FF2B5EF4-FFF2-40B4-BE49-F238E27FC236}">
                  <a16:creationId xmlns="" xmlns:a16="http://schemas.microsoft.com/office/drawing/2014/main" id="{31D609C8-2F3E-14CE-A965-F02EAAA5529A}"/>
                </a:ext>
              </a:extLst>
            </p:cNvPr>
            <p:cNvSpPr txBox="1"/>
            <p:nvPr/>
          </p:nvSpPr>
          <p:spPr>
            <a:xfrm>
              <a:off x="1638748" y="3653576"/>
              <a:ext cx="5486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024</a:t>
              </a:r>
              <a:endParaRPr lang="en-CH" sz="1400" dirty="0"/>
            </a:p>
          </p:txBody>
        </p:sp>
        <p:cxnSp>
          <p:nvCxnSpPr>
            <p:cNvPr id="31" name="Straight Arrow Connector 30">
              <a:extLst>
                <a:ext uri="{FF2B5EF4-FFF2-40B4-BE49-F238E27FC236}">
                  <a16:creationId xmlns="" xmlns:a16="http://schemas.microsoft.com/office/drawing/2014/main" id="{30CACF6F-3921-BF6C-51AE-DEB9FAF09B1A}"/>
                </a:ext>
              </a:extLst>
            </p:cNvPr>
            <p:cNvCxnSpPr>
              <a:cxnSpLocks/>
            </p:cNvCxnSpPr>
            <p:nvPr/>
          </p:nvCxnSpPr>
          <p:spPr>
            <a:xfrm>
              <a:off x="1631715" y="3672658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>
              <a:extLst>
                <a:ext uri="{FF2B5EF4-FFF2-40B4-BE49-F238E27FC236}">
                  <a16:creationId xmlns="" xmlns:a16="http://schemas.microsoft.com/office/drawing/2014/main" id="{EC8EF652-8D48-4898-A61D-9AABB00935FD}"/>
                </a:ext>
              </a:extLst>
            </p:cNvPr>
            <p:cNvSpPr txBox="1"/>
            <p:nvPr/>
          </p:nvSpPr>
          <p:spPr>
            <a:xfrm>
              <a:off x="1309479" y="3256183"/>
              <a:ext cx="661400" cy="369332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ReLU</a:t>
              </a:r>
              <a:endParaRPr lang="en-CH" dirty="0"/>
            </a:p>
          </p:txBody>
        </p:sp>
        <p:sp>
          <p:nvSpPr>
            <p:cNvPr id="39" name="TextBox 38">
              <a:extLst>
                <a:ext uri="{FF2B5EF4-FFF2-40B4-BE49-F238E27FC236}">
                  <a16:creationId xmlns="" xmlns:a16="http://schemas.microsoft.com/office/drawing/2014/main" id="{FBAEE39A-F0DF-04C3-4758-C159E1DE830F}"/>
                </a:ext>
              </a:extLst>
            </p:cNvPr>
            <p:cNvSpPr txBox="1"/>
            <p:nvPr/>
          </p:nvSpPr>
          <p:spPr>
            <a:xfrm>
              <a:off x="1638748" y="4237120"/>
              <a:ext cx="5486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024</a:t>
              </a:r>
              <a:endParaRPr lang="en-CH" sz="1400" dirty="0"/>
            </a:p>
          </p:txBody>
        </p:sp>
        <p:cxnSp>
          <p:nvCxnSpPr>
            <p:cNvPr id="40" name="Straight Arrow Connector 39">
              <a:extLst>
                <a:ext uri="{FF2B5EF4-FFF2-40B4-BE49-F238E27FC236}">
                  <a16:creationId xmlns="" xmlns:a16="http://schemas.microsoft.com/office/drawing/2014/main" id="{71A14AB1-3567-44C0-1C55-D16E66B52671}"/>
                </a:ext>
              </a:extLst>
            </p:cNvPr>
            <p:cNvCxnSpPr>
              <a:cxnSpLocks/>
            </p:cNvCxnSpPr>
            <p:nvPr/>
          </p:nvCxnSpPr>
          <p:spPr>
            <a:xfrm>
              <a:off x="1631715" y="4248453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>
              <a:extLst>
                <a:ext uri="{FF2B5EF4-FFF2-40B4-BE49-F238E27FC236}">
                  <a16:creationId xmlns="" xmlns:a16="http://schemas.microsoft.com/office/drawing/2014/main" id="{28DA578F-306A-B5A5-7899-FDF719A152B8}"/>
                </a:ext>
              </a:extLst>
            </p:cNvPr>
            <p:cNvSpPr txBox="1"/>
            <p:nvPr/>
          </p:nvSpPr>
          <p:spPr>
            <a:xfrm>
              <a:off x="1402325" y="3937138"/>
              <a:ext cx="45878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dirty="0"/>
                <a:t>BN</a:t>
              </a:r>
              <a:endParaRPr lang="en-CH" dirty="0"/>
            </a:p>
          </p:txBody>
        </p:sp>
        <p:sp>
          <p:nvSpPr>
            <p:cNvPr id="43" name="TextBox 42">
              <a:extLst>
                <a:ext uri="{FF2B5EF4-FFF2-40B4-BE49-F238E27FC236}">
                  <a16:creationId xmlns="" xmlns:a16="http://schemas.microsoft.com/office/drawing/2014/main" id="{59CC3189-BE11-9591-C3C6-328F7BE6B0D1}"/>
                </a:ext>
              </a:extLst>
            </p:cNvPr>
            <p:cNvSpPr txBox="1"/>
            <p:nvPr/>
          </p:nvSpPr>
          <p:spPr>
            <a:xfrm>
              <a:off x="1728430" y="5683306"/>
              <a:ext cx="37631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98</a:t>
              </a:r>
              <a:endParaRPr lang="en-CH" sz="1400" dirty="0"/>
            </a:p>
          </p:txBody>
        </p:sp>
        <p:sp>
          <p:nvSpPr>
            <p:cNvPr id="95" name="TextBox 94">
              <a:extLst>
                <a:ext uri="{FF2B5EF4-FFF2-40B4-BE49-F238E27FC236}">
                  <a16:creationId xmlns="" xmlns:a16="http://schemas.microsoft.com/office/drawing/2014/main" id="{9427C599-1472-05C3-522F-B117DFE4AE68}"/>
                </a:ext>
              </a:extLst>
            </p:cNvPr>
            <p:cNvSpPr txBox="1"/>
            <p:nvPr/>
          </p:nvSpPr>
          <p:spPr>
            <a:xfrm>
              <a:off x="30089" y="515924"/>
              <a:ext cx="320324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b="1" dirty="0"/>
                <a:t>RWS perm (11,497,410 params)</a:t>
              </a:r>
              <a:endParaRPr lang="en-CH" b="1" dirty="0"/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="" xmlns:a16="http://schemas.microsoft.com/office/drawing/2014/main" id="{E32024C2-22CC-AFC6-58C0-56BF51DC608D}"/>
              </a:ext>
            </a:extLst>
          </p:cNvPr>
          <p:cNvGrpSpPr/>
          <p:nvPr/>
        </p:nvGrpSpPr>
        <p:grpSpPr>
          <a:xfrm>
            <a:off x="6065895" y="50189"/>
            <a:ext cx="3259739" cy="5859550"/>
            <a:chOff x="2284695" y="525036"/>
            <a:chExt cx="3259739" cy="5859550"/>
          </a:xfrm>
        </p:grpSpPr>
        <p:sp>
          <p:nvSpPr>
            <p:cNvPr id="72" name="TextBox 71">
              <a:extLst>
                <a:ext uri="{FF2B5EF4-FFF2-40B4-BE49-F238E27FC236}">
                  <a16:creationId xmlns="" xmlns:a16="http://schemas.microsoft.com/office/drawing/2014/main" id="{E6E8A597-AF03-4425-F3FD-C0E495332932}"/>
                </a:ext>
              </a:extLst>
            </p:cNvPr>
            <p:cNvSpPr txBox="1"/>
            <p:nvPr/>
          </p:nvSpPr>
          <p:spPr>
            <a:xfrm>
              <a:off x="3921600" y="1256267"/>
              <a:ext cx="81592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700</a:t>
              </a:r>
              <a:endParaRPr lang="en-CH" sz="1400" dirty="0"/>
            </a:p>
          </p:txBody>
        </p:sp>
        <p:sp>
          <p:nvSpPr>
            <p:cNvPr id="73" name="TextBox 72">
              <a:extLst>
                <a:ext uri="{FF2B5EF4-FFF2-40B4-BE49-F238E27FC236}">
                  <a16:creationId xmlns="" xmlns:a16="http://schemas.microsoft.com/office/drawing/2014/main" id="{B8970E0F-97BB-B338-927F-B4EE7109E61C}"/>
                </a:ext>
              </a:extLst>
            </p:cNvPr>
            <p:cNvSpPr txBox="1"/>
            <p:nvPr/>
          </p:nvSpPr>
          <p:spPr>
            <a:xfrm>
              <a:off x="3925115" y="2249928"/>
              <a:ext cx="5486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2816</a:t>
              </a:r>
              <a:endParaRPr lang="en-CH" sz="1400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74" name="TextBox 73">
                  <a:extLst>
                    <a:ext uri="{FF2B5EF4-FFF2-40B4-BE49-F238E27FC236}">
                      <a16:creationId xmlns="" xmlns:a16="http://schemas.microsoft.com/office/drawing/2014/main" id="{CDA9B1A0-F203-E283-7398-BE67C8A647A7}"/>
                    </a:ext>
                  </a:extLst>
                </p:cNvPr>
                <p:cNvSpPr txBox="1"/>
                <p:nvPr/>
              </p:nvSpPr>
              <p:spPr>
                <a:xfrm>
                  <a:off x="3223201" y="867600"/>
                  <a:ext cx="1404615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14:m>
                    <m:oMath xmlns:m="http://schemas.openxmlformats.org/officeDocument/2006/math">
                      <m:sSub>
                        <m:sSubPr>
                          <m:ctrlPr>
                            <a:rPr lang="fr-CH" b="0" i="1" dirty="0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CH" b="0" i="1" dirty="0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fr-CH" b="0" i="1" dirty="0" smtClean="0">
                              <a:latin typeface="Cambria Math" panose="02040503050406030204" pitchFamily="18" charset="0"/>
                            </a:rPr>
                            <m:t>𝑟𝑜𝑢𝑛𝑑</m:t>
                          </m:r>
                        </m:sub>
                      </m:sSub>
                    </m:oMath>
                  </a14:m>
                  <a:r>
                    <a:rPr lang="fr-CH" dirty="0"/>
                    <a:t>’s </a:t>
                  </a:r>
                  <a:r>
                    <a:rPr lang="fr-CH" dirty="0" err="1"/>
                    <a:t>PoIs</a:t>
                  </a:r>
                  <a:endParaRPr lang="en-CH" dirty="0"/>
                </a:p>
              </p:txBody>
            </p:sp>
          </mc:Choice>
          <mc:Fallback xmlns="">
            <p:sp>
              <p:nvSpPr>
                <p:cNvPr id="74" name="TextBox 73">
                  <a:extLst>
                    <a:ext uri="{FF2B5EF4-FFF2-40B4-BE49-F238E27FC236}">
                      <a16:creationId xmlns:a16="http://schemas.microsoft.com/office/drawing/2014/main" id="{CDA9B1A0-F203-E283-7398-BE67C8A647A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223201" y="867600"/>
                  <a:ext cx="1404615" cy="369332"/>
                </a:xfrm>
                <a:prstGeom prst="rect">
                  <a:avLst/>
                </a:prstGeom>
                <a:blipFill>
                  <a:blip r:embed="rId3"/>
                  <a:stretch>
                    <a:fillRect t="-8197" r="-3913" b="-24590"/>
                  </a:stretch>
                </a:blipFill>
              </p:spPr>
              <p:txBody>
                <a:bodyPr/>
                <a:lstStyle/>
                <a:p>
                  <a:r>
                    <a:rPr lang="en-CH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75" name="Straight Arrow Connector 74">
              <a:extLst>
                <a:ext uri="{FF2B5EF4-FFF2-40B4-BE49-F238E27FC236}">
                  <a16:creationId xmlns="" xmlns:a16="http://schemas.microsoft.com/office/drawing/2014/main" id="{8AD23612-B124-29CF-1907-CBCD7AEE71FC}"/>
                </a:ext>
              </a:extLst>
            </p:cNvPr>
            <p:cNvCxnSpPr>
              <a:cxnSpLocks/>
            </p:cNvCxnSpPr>
            <p:nvPr/>
          </p:nvCxnSpPr>
          <p:spPr>
            <a:xfrm>
              <a:off x="3921600" y="1256267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TextBox 76">
              <a:extLst>
                <a:ext uri="{FF2B5EF4-FFF2-40B4-BE49-F238E27FC236}">
                  <a16:creationId xmlns="" xmlns:a16="http://schemas.microsoft.com/office/drawing/2014/main" id="{99A43406-4CA8-4C06-5E47-9F53C6DA87F3}"/>
                </a:ext>
              </a:extLst>
            </p:cNvPr>
            <p:cNvSpPr txBox="1"/>
            <p:nvPr/>
          </p:nvSpPr>
          <p:spPr>
            <a:xfrm>
              <a:off x="3925115" y="2943611"/>
              <a:ext cx="5486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024</a:t>
              </a:r>
              <a:endParaRPr lang="en-CH" sz="1400" dirty="0"/>
            </a:p>
          </p:txBody>
        </p:sp>
        <p:cxnSp>
          <p:nvCxnSpPr>
            <p:cNvPr id="78" name="Straight Arrow Connector 77">
              <a:extLst>
                <a:ext uri="{FF2B5EF4-FFF2-40B4-BE49-F238E27FC236}">
                  <a16:creationId xmlns="" xmlns:a16="http://schemas.microsoft.com/office/drawing/2014/main" id="{284C9F2D-F5F2-AEB8-EC42-B360C9C92C18}"/>
                </a:ext>
              </a:extLst>
            </p:cNvPr>
            <p:cNvCxnSpPr>
              <a:cxnSpLocks/>
            </p:cNvCxnSpPr>
            <p:nvPr/>
          </p:nvCxnSpPr>
          <p:spPr>
            <a:xfrm>
              <a:off x="3921599" y="2263791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TextBox 79">
              <a:extLst>
                <a:ext uri="{FF2B5EF4-FFF2-40B4-BE49-F238E27FC236}">
                  <a16:creationId xmlns="" xmlns:a16="http://schemas.microsoft.com/office/drawing/2014/main" id="{C3ACEFD2-3619-DE38-1B12-DCAB1799C88C}"/>
                </a:ext>
              </a:extLst>
            </p:cNvPr>
            <p:cNvSpPr txBox="1"/>
            <p:nvPr/>
          </p:nvSpPr>
          <p:spPr>
            <a:xfrm>
              <a:off x="4011280" y="5009092"/>
              <a:ext cx="37631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4</a:t>
              </a:r>
              <a:endParaRPr lang="en-CH" sz="1400" dirty="0"/>
            </a:p>
          </p:txBody>
        </p:sp>
        <p:cxnSp>
          <p:nvCxnSpPr>
            <p:cNvPr id="81" name="Straight Arrow Connector 80">
              <a:extLst>
                <a:ext uri="{FF2B5EF4-FFF2-40B4-BE49-F238E27FC236}">
                  <a16:creationId xmlns="" xmlns:a16="http://schemas.microsoft.com/office/drawing/2014/main" id="{6F203290-6889-B592-C174-2C2024B96EB8}"/>
                </a:ext>
              </a:extLst>
            </p:cNvPr>
            <p:cNvCxnSpPr>
              <a:cxnSpLocks/>
            </p:cNvCxnSpPr>
            <p:nvPr/>
          </p:nvCxnSpPr>
          <p:spPr>
            <a:xfrm>
              <a:off x="3918082" y="2962693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Arrow Connector 81">
              <a:extLst>
                <a:ext uri="{FF2B5EF4-FFF2-40B4-BE49-F238E27FC236}">
                  <a16:creationId xmlns="" xmlns:a16="http://schemas.microsoft.com/office/drawing/2014/main" id="{3D9BB5E4-95FA-CE60-F4CC-C5CE2270BC85}"/>
                </a:ext>
              </a:extLst>
            </p:cNvPr>
            <p:cNvCxnSpPr>
              <a:cxnSpLocks/>
            </p:cNvCxnSpPr>
            <p:nvPr/>
          </p:nvCxnSpPr>
          <p:spPr>
            <a:xfrm>
              <a:off x="3918082" y="5023057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TextBox 82">
              <a:extLst>
                <a:ext uri="{FF2B5EF4-FFF2-40B4-BE49-F238E27FC236}">
                  <a16:creationId xmlns="" xmlns:a16="http://schemas.microsoft.com/office/drawing/2014/main" id="{A267C104-6D35-AA28-18B6-BEC259B80ADB}"/>
                </a:ext>
              </a:extLst>
            </p:cNvPr>
            <p:cNvSpPr txBox="1"/>
            <p:nvPr/>
          </p:nvSpPr>
          <p:spPr>
            <a:xfrm>
              <a:off x="3442086" y="5302903"/>
              <a:ext cx="951992" cy="369332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Softmax</a:t>
              </a:r>
              <a:endParaRPr lang="en-CH" dirty="0"/>
            </a:p>
          </p:txBody>
        </p:sp>
        <p:cxnSp>
          <p:nvCxnSpPr>
            <p:cNvPr id="84" name="Straight Arrow Connector 83">
              <a:extLst>
                <a:ext uri="{FF2B5EF4-FFF2-40B4-BE49-F238E27FC236}">
                  <a16:creationId xmlns="" xmlns:a16="http://schemas.microsoft.com/office/drawing/2014/main" id="{F2A0F983-4225-2642-FA5F-7B0462008E3B}"/>
                </a:ext>
              </a:extLst>
            </p:cNvPr>
            <p:cNvCxnSpPr>
              <a:cxnSpLocks/>
            </p:cNvCxnSpPr>
            <p:nvPr/>
          </p:nvCxnSpPr>
          <p:spPr>
            <a:xfrm>
              <a:off x="3918082" y="5688904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5" name="TextBox 84">
                  <a:extLst>
                    <a:ext uri="{FF2B5EF4-FFF2-40B4-BE49-F238E27FC236}">
                      <a16:creationId xmlns="" xmlns:a16="http://schemas.microsoft.com/office/drawing/2014/main" id="{D2D5B6C0-9D03-7807-9725-6D91A3F5664E}"/>
                    </a:ext>
                  </a:extLst>
                </p:cNvPr>
                <p:cNvSpPr txBox="1"/>
                <p:nvPr/>
              </p:nvSpPr>
              <p:spPr>
                <a:xfrm>
                  <a:off x="3189891" y="5989157"/>
                  <a:ext cx="1463413" cy="39542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fr-CH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CH" b="0" i="1" smtClean="0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sSub>
                              <m:sSubPr>
                                <m:ctrlPr>
                                  <a:rPr lang="fr-CH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H" b="0" i="1" smtClean="0">
                                    <a:latin typeface="Cambria Math" panose="02040503050406030204" pitchFamily="18" charset="0"/>
                                  </a:rPr>
                                  <m:t>𝑝</m:t>
                                </m:r>
                              </m:e>
                              <m:sub>
                                <m:r>
                                  <a:rPr lang="fr-CH" b="0" i="1" smtClean="0">
                                    <a:latin typeface="Cambria Math" panose="02040503050406030204" pitchFamily="18" charset="0"/>
                                  </a:rPr>
                                  <m:t>𝑟𝑜𝑢𝑛𝑑</m:t>
                                </m:r>
                              </m:sub>
                            </m:sSub>
                          </m:sub>
                        </m:sSub>
                        <m:d>
                          <m:dPr>
                            <m:ctrlPr>
                              <a:rPr lang="fr-CH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r-CH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∙| </m:t>
                            </m:r>
                            <m:r>
                              <a:rPr lang="fr-CH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𝒙</m:t>
                            </m:r>
                          </m:e>
                        </m:d>
                      </m:oMath>
                    </m:oMathPara>
                  </a14:m>
                  <a:endParaRPr lang="en-CH" dirty="0"/>
                </a:p>
              </p:txBody>
            </p:sp>
          </mc:Choice>
          <mc:Fallback xmlns="">
            <p:sp>
              <p:nvSpPr>
                <p:cNvPr id="85" name="TextBox 84">
                  <a:extLst>
                    <a:ext uri="{FF2B5EF4-FFF2-40B4-BE49-F238E27FC236}">
                      <a16:creationId xmlns:a16="http://schemas.microsoft.com/office/drawing/2014/main" id="{D2D5B6C0-9D03-7807-9725-6D91A3F5664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189891" y="5989157"/>
                  <a:ext cx="1463413" cy="395429"/>
                </a:xfrm>
                <a:prstGeom prst="rect">
                  <a:avLst/>
                </a:prstGeom>
                <a:blipFill>
                  <a:blip r:embed="rId4"/>
                  <a:stretch>
                    <a:fillRect b="-7692"/>
                  </a:stretch>
                </a:blipFill>
              </p:spPr>
              <p:txBody>
                <a:bodyPr/>
                <a:lstStyle/>
                <a:p>
                  <a:r>
                    <a:rPr lang="en-CH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6" name="TextBox 85">
              <a:extLst>
                <a:ext uri="{FF2B5EF4-FFF2-40B4-BE49-F238E27FC236}">
                  <a16:creationId xmlns="" xmlns:a16="http://schemas.microsoft.com/office/drawing/2014/main" id="{C850247E-5DF3-5FF1-14A0-AD938BD5B432}"/>
                </a:ext>
              </a:extLst>
            </p:cNvPr>
            <p:cNvSpPr txBox="1"/>
            <p:nvPr/>
          </p:nvSpPr>
          <p:spPr>
            <a:xfrm>
              <a:off x="3921598" y="3646459"/>
              <a:ext cx="5486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024</a:t>
              </a:r>
              <a:endParaRPr lang="en-CH" sz="1400" dirty="0"/>
            </a:p>
          </p:txBody>
        </p:sp>
        <p:cxnSp>
          <p:nvCxnSpPr>
            <p:cNvPr id="87" name="Straight Arrow Connector 86">
              <a:extLst>
                <a:ext uri="{FF2B5EF4-FFF2-40B4-BE49-F238E27FC236}">
                  <a16:creationId xmlns="" xmlns:a16="http://schemas.microsoft.com/office/drawing/2014/main" id="{7EC775DA-2069-CB79-ED2E-BDB99FB8E2BD}"/>
                </a:ext>
              </a:extLst>
            </p:cNvPr>
            <p:cNvCxnSpPr>
              <a:cxnSpLocks/>
            </p:cNvCxnSpPr>
            <p:nvPr/>
          </p:nvCxnSpPr>
          <p:spPr>
            <a:xfrm>
              <a:off x="3914565" y="3665541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TextBox 87">
              <a:extLst>
                <a:ext uri="{FF2B5EF4-FFF2-40B4-BE49-F238E27FC236}">
                  <a16:creationId xmlns="" xmlns:a16="http://schemas.microsoft.com/office/drawing/2014/main" id="{0E36B9BF-4D0C-8308-2278-EF2F7416D067}"/>
                </a:ext>
              </a:extLst>
            </p:cNvPr>
            <p:cNvSpPr txBox="1"/>
            <p:nvPr/>
          </p:nvSpPr>
          <p:spPr>
            <a:xfrm>
              <a:off x="3592329" y="3256720"/>
              <a:ext cx="661400" cy="369332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ReLU</a:t>
              </a:r>
              <a:endParaRPr lang="en-CH" dirty="0"/>
            </a:p>
          </p:txBody>
        </p:sp>
        <p:sp>
          <p:nvSpPr>
            <p:cNvPr id="90" name="TextBox 89">
              <a:extLst>
                <a:ext uri="{FF2B5EF4-FFF2-40B4-BE49-F238E27FC236}">
                  <a16:creationId xmlns="" xmlns:a16="http://schemas.microsoft.com/office/drawing/2014/main" id="{615144D5-858C-BD04-B97B-5778D2D4CB4A}"/>
                </a:ext>
              </a:extLst>
            </p:cNvPr>
            <p:cNvSpPr txBox="1"/>
            <p:nvPr/>
          </p:nvSpPr>
          <p:spPr>
            <a:xfrm>
              <a:off x="3921598" y="4247051"/>
              <a:ext cx="5486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024</a:t>
              </a:r>
              <a:endParaRPr lang="en-CH" sz="1400" dirty="0"/>
            </a:p>
          </p:txBody>
        </p:sp>
        <p:cxnSp>
          <p:nvCxnSpPr>
            <p:cNvPr id="91" name="Straight Arrow Connector 90">
              <a:extLst>
                <a:ext uri="{FF2B5EF4-FFF2-40B4-BE49-F238E27FC236}">
                  <a16:creationId xmlns="" xmlns:a16="http://schemas.microsoft.com/office/drawing/2014/main" id="{D5EEF37C-D7B4-07DA-64FD-14E6AD4696C3}"/>
                </a:ext>
              </a:extLst>
            </p:cNvPr>
            <p:cNvCxnSpPr>
              <a:cxnSpLocks/>
            </p:cNvCxnSpPr>
            <p:nvPr/>
          </p:nvCxnSpPr>
          <p:spPr>
            <a:xfrm>
              <a:off x="3914565" y="4248453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TextBox 91">
              <a:extLst>
                <a:ext uri="{FF2B5EF4-FFF2-40B4-BE49-F238E27FC236}">
                  <a16:creationId xmlns="" xmlns:a16="http://schemas.microsoft.com/office/drawing/2014/main" id="{8DFF9BF1-7F97-3B42-D123-7577521A221B}"/>
                </a:ext>
              </a:extLst>
            </p:cNvPr>
            <p:cNvSpPr txBox="1"/>
            <p:nvPr/>
          </p:nvSpPr>
          <p:spPr>
            <a:xfrm>
              <a:off x="3685175" y="3937675"/>
              <a:ext cx="45878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dirty="0"/>
                <a:t>BN</a:t>
              </a:r>
              <a:endParaRPr lang="en-CH" dirty="0"/>
            </a:p>
          </p:txBody>
        </p:sp>
        <p:sp>
          <p:nvSpPr>
            <p:cNvPr id="93" name="TextBox 92">
              <a:extLst>
                <a:ext uri="{FF2B5EF4-FFF2-40B4-BE49-F238E27FC236}">
                  <a16:creationId xmlns="" xmlns:a16="http://schemas.microsoft.com/office/drawing/2014/main" id="{708AEF89-D19A-A6CA-6A20-19138BD80B35}"/>
                </a:ext>
              </a:extLst>
            </p:cNvPr>
            <p:cNvSpPr txBox="1"/>
            <p:nvPr/>
          </p:nvSpPr>
          <p:spPr>
            <a:xfrm>
              <a:off x="4011280" y="5683843"/>
              <a:ext cx="37631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4</a:t>
              </a:r>
              <a:endParaRPr lang="en-CH" sz="1400" dirty="0"/>
            </a:p>
          </p:txBody>
        </p:sp>
        <p:sp>
          <p:nvSpPr>
            <p:cNvPr id="101" name="TextBox 100">
              <a:extLst>
                <a:ext uri="{FF2B5EF4-FFF2-40B4-BE49-F238E27FC236}">
                  <a16:creationId xmlns="" xmlns:a16="http://schemas.microsoft.com/office/drawing/2014/main" id="{96910443-799E-CDE1-6153-55107CE12759}"/>
                </a:ext>
              </a:extLst>
            </p:cNvPr>
            <p:cNvSpPr txBox="1"/>
            <p:nvPr/>
          </p:nvSpPr>
          <p:spPr>
            <a:xfrm>
              <a:off x="2989232" y="1586391"/>
              <a:ext cx="1870864" cy="646331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 err="1"/>
                <a:t>ResNet</a:t>
              </a:r>
              <a:endParaRPr lang="fr-CH" dirty="0"/>
            </a:p>
            <a:p>
              <a:pPr algn="ctr"/>
              <a:r>
                <a:rPr lang="fr-CH" dirty="0"/>
                <a:t>5 </a:t>
              </a:r>
              <a:r>
                <a:rPr lang="fr-CH" dirty="0" err="1"/>
                <a:t>residual</a:t>
              </a:r>
              <a:r>
                <a:rPr lang="fr-CH" dirty="0"/>
                <a:t> blocks</a:t>
              </a:r>
              <a:endParaRPr lang="en-CH" dirty="0"/>
            </a:p>
          </p:txBody>
        </p:sp>
        <p:sp>
          <p:nvSpPr>
            <p:cNvPr id="102" name="TextBox 101">
              <a:extLst>
                <a:ext uri="{FF2B5EF4-FFF2-40B4-BE49-F238E27FC236}">
                  <a16:creationId xmlns="" xmlns:a16="http://schemas.microsoft.com/office/drawing/2014/main" id="{14885AB7-0BCB-C007-D0CF-473770AC3239}"/>
                </a:ext>
              </a:extLst>
            </p:cNvPr>
            <p:cNvSpPr txBox="1"/>
            <p:nvPr/>
          </p:nvSpPr>
          <p:spPr>
            <a:xfrm>
              <a:off x="2989233" y="2568410"/>
              <a:ext cx="1870863" cy="369332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="" xmlns:a16="http://schemas.microsoft.com/office/drawing/2014/main" id="{14699CAB-2ECF-6172-2025-FCD259172B6E}"/>
                </a:ext>
              </a:extLst>
            </p:cNvPr>
            <p:cNvSpPr txBox="1"/>
            <p:nvPr/>
          </p:nvSpPr>
          <p:spPr>
            <a:xfrm>
              <a:off x="2989233" y="4611784"/>
              <a:ext cx="1870863" cy="369332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="" xmlns:a16="http://schemas.microsoft.com/office/drawing/2014/main" id="{4C5CFA87-B361-062E-5944-99E819251C1B}"/>
                </a:ext>
              </a:extLst>
            </p:cNvPr>
            <p:cNvSpPr txBox="1"/>
            <p:nvPr/>
          </p:nvSpPr>
          <p:spPr>
            <a:xfrm>
              <a:off x="2284695" y="525036"/>
              <a:ext cx="325973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b="1" dirty="0"/>
                <a:t>Round perm (4,389,998 params)</a:t>
              </a:r>
              <a:endParaRPr lang="en-CH" b="1" dirty="0"/>
            </a:p>
          </p:txBody>
        </p:sp>
      </p:grp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98F119C4-EFAA-9512-A471-1273E2278617}"/>
              </a:ext>
            </a:extLst>
          </p:cNvPr>
          <p:cNvSpPr txBox="1"/>
          <p:nvPr/>
        </p:nvSpPr>
        <p:spPr>
          <a:xfrm>
            <a:off x="4091136" y="6170871"/>
            <a:ext cx="4019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H" dirty="0"/>
              <a:t>Our modular network architectures (1/2)</a:t>
            </a:r>
          </a:p>
        </p:txBody>
      </p:sp>
    </p:spTree>
    <p:extLst>
      <p:ext uri="{BB962C8B-B14F-4D97-AF65-F5344CB8AC3E}">
        <p14:creationId xmlns:p14="http://schemas.microsoft.com/office/powerpoint/2010/main" val="1981172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="" xmlns:a16="http://schemas.microsoft.com/office/drawing/2014/main" id="{760F150E-85C3-7AC2-CFBE-4D0FF9E9BE88}"/>
              </a:ext>
            </a:extLst>
          </p:cNvPr>
          <p:cNvGrpSpPr/>
          <p:nvPr/>
        </p:nvGrpSpPr>
        <p:grpSpPr>
          <a:xfrm>
            <a:off x="693723" y="0"/>
            <a:ext cx="3705143" cy="6124532"/>
            <a:chOff x="538822" y="200527"/>
            <a:chExt cx="3705143" cy="6124532"/>
          </a:xfrm>
        </p:grpSpPr>
        <p:sp>
          <p:nvSpPr>
            <p:cNvPr id="3" name="TextBox 2">
              <a:extLst>
                <a:ext uri="{FF2B5EF4-FFF2-40B4-BE49-F238E27FC236}">
                  <a16:creationId xmlns="" xmlns:a16="http://schemas.microsoft.com/office/drawing/2014/main" id="{48467868-2449-DC10-DD32-3B102F5A44A3}"/>
                </a:ext>
              </a:extLst>
            </p:cNvPr>
            <p:cNvSpPr txBox="1"/>
            <p:nvPr/>
          </p:nvSpPr>
          <p:spPr>
            <a:xfrm>
              <a:off x="1426653" y="1312071"/>
              <a:ext cx="1870864" cy="646331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 err="1"/>
                <a:t>ResNet</a:t>
              </a:r>
              <a:endParaRPr lang="fr-CH" dirty="0"/>
            </a:p>
            <a:p>
              <a:pPr algn="ctr"/>
              <a:r>
                <a:rPr lang="fr-CH" dirty="0"/>
                <a:t>8 </a:t>
              </a:r>
              <a:r>
                <a:rPr lang="fr-CH" dirty="0" err="1"/>
                <a:t>residual</a:t>
              </a:r>
              <a:r>
                <a:rPr lang="fr-CH" dirty="0"/>
                <a:t> blocks</a:t>
              </a:r>
              <a:endParaRPr lang="en-CH" dirty="0"/>
            </a:p>
          </p:txBody>
        </p:sp>
        <p:sp>
          <p:nvSpPr>
            <p:cNvPr id="4" name="TextBox 3">
              <a:extLst>
                <a:ext uri="{FF2B5EF4-FFF2-40B4-BE49-F238E27FC236}">
                  <a16:creationId xmlns="" xmlns:a16="http://schemas.microsoft.com/office/drawing/2014/main" id="{370D67FC-6B77-1C3E-0577-FFEFDC667B67}"/>
                </a:ext>
              </a:extLst>
            </p:cNvPr>
            <p:cNvSpPr txBox="1"/>
            <p:nvPr/>
          </p:nvSpPr>
          <p:spPr>
            <a:xfrm>
              <a:off x="2369120" y="981410"/>
              <a:ext cx="81592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4875</a:t>
              </a:r>
              <a:endParaRPr lang="en-CH" sz="1400" dirty="0"/>
            </a:p>
          </p:txBody>
        </p:sp>
        <p:sp>
          <p:nvSpPr>
            <p:cNvPr id="5" name="TextBox 4">
              <a:extLst>
                <a:ext uri="{FF2B5EF4-FFF2-40B4-BE49-F238E27FC236}">
                  <a16:creationId xmlns="" xmlns:a16="http://schemas.microsoft.com/office/drawing/2014/main" id="{915B382A-6A03-F33C-A0F6-74D72A29E9BF}"/>
                </a:ext>
              </a:extLst>
            </p:cNvPr>
            <p:cNvSpPr txBox="1"/>
            <p:nvPr/>
          </p:nvSpPr>
          <p:spPr>
            <a:xfrm>
              <a:off x="2372635" y="1975071"/>
              <a:ext cx="5486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2304</a:t>
              </a:r>
              <a:endParaRPr lang="en-CH" sz="1400" dirty="0"/>
            </a:p>
          </p:txBody>
        </p:sp>
        <p:sp>
          <p:nvSpPr>
            <p:cNvPr id="10" name="TextBox 9">
              <a:extLst>
                <a:ext uri="{FF2B5EF4-FFF2-40B4-BE49-F238E27FC236}">
                  <a16:creationId xmlns="" xmlns:a16="http://schemas.microsoft.com/office/drawing/2014/main" id="{B80566C9-12DB-EAD8-3BDE-8501A28EF58B}"/>
                </a:ext>
              </a:extLst>
            </p:cNvPr>
            <p:cNvSpPr txBox="1"/>
            <p:nvPr/>
          </p:nvSpPr>
          <p:spPr>
            <a:xfrm>
              <a:off x="1960192" y="592743"/>
              <a:ext cx="81785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dirty="0"/>
                <a:t>¼ RWS</a:t>
              </a:r>
              <a:endParaRPr lang="en-CH" dirty="0"/>
            </a:p>
          </p:txBody>
        </p:sp>
        <p:cxnSp>
          <p:nvCxnSpPr>
            <p:cNvPr id="12" name="Straight Arrow Connector 11">
              <a:extLst>
                <a:ext uri="{FF2B5EF4-FFF2-40B4-BE49-F238E27FC236}">
                  <a16:creationId xmlns="" xmlns:a16="http://schemas.microsoft.com/office/drawing/2014/main" id="{0D8E8D01-5B70-E107-7CDE-D3E9EFB1CE7C}"/>
                </a:ext>
              </a:extLst>
            </p:cNvPr>
            <p:cNvCxnSpPr>
              <a:cxnSpLocks/>
            </p:cNvCxnSpPr>
            <p:nvPr/>
          </p:nvCxnSpPr>
          <p:spPr>
            <a:xfrm>
              <a:off x="2369120" y="981410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="" xmlns:a16="http://schemas.microsoft.com/office/drawing/2014/main" id="{81F0796B-6124-575C-A049-C66EC2F76AF9}"/>
                </a:ext>
              </a:extLst>
            </p:cNvPr>
            <p:cNvCxnSpPr>
              <a:cxnSpLocks/>
            </p:cNvCxnSpPr>
            <p:nvPr/>
          </p:nvCxnSpPr>
          <p:spPr>
            <a:xfrm>
              <a:off x="2369119" y="1988934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="" xmlns:a16="http://schemas.microsoft.com/office/drawing/2014/main" id="{DA34640C-21BF-FFD5-A9A7-64F9EE78A35C}"/>
                </a:ext>
              </a:extLst>
            </p:cNvPr>
            <p:cNvSpPr txBox="1"/>
            <p:nvPr/>
          </p:nvSpPr>
          <p:spPr>
            <a:xfrm>
              <a:off x="982643" y="2481184"/>
              <a:ext cx="802335" cy="369332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="" xmlns:a16="http://schemas.microsoft.com/office/drawing/2014/main" id="{519FBEE0-C313-CE5D-C336-D74D55FA46E2}"/>
                </a:ext>
              </a:extLst>
            </p:cNvPr>
            <p:cNvSpPr txBox="1"/>
            <p:nvPr/>
          </p:nvSpPr>
          <p:spPr>
            <a:xfrm>
              <a:off x="1393144" y="2835161"/>
              <a:ext cx="5486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512</a:t>
              </a:r>
              <a:endParaRPr lang="en-CH" sz="1400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="" xmlns:a16="http://schemas.microsoft.com/office/drawing/2014/main" id="{5E1A6FA3-450D-882B-E55F-FCEC722EFBBC}"/>
                </a:ext>
              </a:extLst>
            </p:cNvPr>
            <p:cNvSpPr txBox="1"/>
            <p:nvPr/>
          </p:nvSpPr>
          <p:spPr>
            <a:xfrm>
              <a:off x="982643" y="4487798"/>
              <a:ext cx="802335" cy="369332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="" xmlns:a16="http://schemas.microsoft.com/office/drawing/2014/main" id="{9A15C805-A6D5-3C06-BDA5-CD974493CB4B}"/>
                </a:ext>
              </a:extLst>
            </p:cNvPr>
            <p:cNvSpPr txBox="1"/>
            <p:nvPr/>
          </p:nvSpPr>
          <p:spPr>
            <a:xfrm>
              <a:off x="1479309" y="4900642"/>
              <a:ext cx="37631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6</a:t>
              </a:r>
              <a:endParaRPr lang="en-CH" sz="1400" dirty="0"/>
            </a:p>
          </p:txBody>
        </p:sp>
        <p:cxnSp>
          <p:nvCxnSpPr>
            <p:cNvPr id="24" name="Straight Arrow Connector 23">
              <a:extLst>
                <a:ext uri="{FF2B5EF4-FFF2-40B4-BE49-F238E27FC236}">
                  <a16:creationId xmlns="" xmlns:a16="http://schemas.microsoft.com/office/drawing/2014/main" id="{03B25158-D3DC-05B9-7C4A-5801AC2860CA}"/>
                </a:ext>
              </a:extLst>
            </p:cNvPr>
            <p:cNvCxnSpPr>
              <a:cxnSpLocks/>
            </p:cNvCxnSpPr>
            <p:nvPr/>
          </p:nvCxnSpPr>
          <p:spPr>
            <a:xfrm>
              <a:off x="1386111" y="2854243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="" xmlns:a16="http://schemas.microsoft.com/office/drawing/2014/main" id="{7F90947C-F272-B557-794F-DA861ED12964}"/>
                </a:ext>
              </a:extLst>
            </p:cNvPr>
            <p:cNvCxnSpPr>
              <a:cxnSpLocks/>
            </p:cNvCxnSpPr>
            <p:nvPr/>
          </p:nvCxnSpPr>
          <p:spPr>
            <a:xfrm>
              <a:off x="1386111" y="4914607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>
              <a:extLst>
                <a:ext uri="{FF2B5EF4-FFF2-40B4-BE49-F238E27FC236}">
                  <a16:creationId xmlns="" xmlns:a16="http://schemas.microsoft.com/office/drawing/2014/main" id="{3E7C058E-AB30-6D83-34BC-6A2EE4473A38}"/>
                </a:ext>
              </a:extLst>
            </p:cNvPr>
            <p:cNvSpPr txBox="1"/>
            <p:nvPr/>
          </p:nvSpPr>
          <p:spPr>
            <a:xfrm>
              <a:off x="910115" y="5194453"/>
              <a:ext cx="951992" cy="369332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Softmax</a:t>
              </a:r>
              <a:endParaRPr lang="en-CH" dirty="0"/>
            </a:p>
          </p:txBody>
        </p:sp>
        <p:cxnSp>
          <p:nvCxnSpPr>
            <p:cNvPr id="27" name="Straight Arrow Connector 26">
              <a:extLst>
                <a:ext uri="{FF2B5EF4-FFF2-40B4-BE49-F238E27FC236}">
                  <a16:creationId xmlns="" xmlns:a16="http://schemas.microsoft.com/office/drawing/2014/main" id="{A8BF70B4-BCB8-381A-E4D5-8DC39A6DF58D}"/>
                </a:ext>
              </a:extLst>
            </p:cNvPr>
            <p:cNvCxnSpPr>
              <a:cxnSpLocks/>
            </p:cNvCxnSpPr>
            <p:nvPr/>
          </p:nvCxnSpPr>
          <p:spPr>
            <a:xfrm>
              <a:off x="1386111" y="5580454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8" name="TextBox 27">
                  <a:extLst>
                    <a:ext uri="{FF2B5EF4-FFF2-40B4-BE49-F238E27FC236}">
                      <a16:creationId xmlns="" xmlns:a16="http://schemas.microsoft.com/office/drawing/2014/main" id="{72C8EAB9-F625-1118-A384-638E4FCE2A63}"/>
                    </a:ext>
                  </a:extLst>
                </p:cNvPr>
                <p:cNvSpPr txBox="1"/>
                <p:nvPr/>
              </p:nvSpPr>
              <p:spPr>
                <a:xfrm>
                  <a:off x="538822" y="5880707"/>
                  <a:ext cx="1701610" cy="44409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fr-CH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CH" b="0" i="1" smtClean="0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sSub>
                              <m:sSubPr>
                                <m:ctrlPr>
                                  <a:rPr lang="fr-CH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H" b="0" i="1" smtClean="0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e>
                              <m:sub>
                                <m:r>
                                  <a:rPr lang="fr-CH" b="0" i="1" smtClean="0">
                                    <a:latin typeface="Cambria Math" panose="02040503050406030204" pitchFamily="18" charset="0"/>
                                  </a:rPr>
                                  <m:t>𝑟𝑤</m:t>
                                </m:r>
                                <m:sSub>
                                  <m:sSubPr>
                                    <m:ctrlPr>
                                      <a:rPr lang="fr-CH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fr-CH" b="0" i="1" smtClean="0">
                                        <a:latin typeface="Cambria Math" panose="02040503050406030204" pitchFamily="18" charset="0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fr-CH" b="0" i="1" smtClean="0">
                                        <a:latin typeface="Cambria Math" panose="02040503050406030204" pitchFamily="18" charset="0"/>
                                      </a:rPr>
                                      <m:t>0,0</m:t>
                                    </m:r>
                                  </m:sub>
                                </m:sSub>
                              </m:sub>
                            </m:sSub>
                          </m:sub>
                        </m:sSub>
                        <m:d>
                          <m:dPr>
                            <m:ctrlPr>
                              <a:rPr lang="fr-CH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r-CH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∙| </m:t>
                            </m:r>
                            <m:r>
                              <a:rPr lang="fr-CH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𝒙</m:t>
                            </m:r>
                          </m:e>
                        </m:d>
                      </m:oMath>
                    </m:oMathPara>
                  </a14:m>
                  <a:endParaRPr lang="en-CH" dirty="0"/>
                </a:p>
              </p:txBody>
            </p:sp>
          </mc:Choice>
          <mc:Fallback xmlns="">
            <p:sp>
              <p:nvSpPr>
                <p:cNvPr id="28" name="TextBox 27">
                  <a:extLst>
                    <a:ext uri="{FF2B5EF4-FFF2-40B4-BE49-F238E27FC236}">
                      <a16:creationId xmlns:a16="http://schemas.microsoft.com/office/drawing/2014/main" id="{72C8EAB9-F625-1118-A384-638E4FCE2A6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38822" y="5880707"/>
                  <a:ext cx="1701610" cy="444096"/>
                </a:xfrm>
                <a:prstGeom prst="rect">
                  <a:avLst/>
                </a:prstGeom>
                <a:blipFill>
                  <a:blip r:embed="rId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CH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30" name="TextBox 29">
              <a:extLst>
                <a:ext uri="{FF2B5EF4-FFF2-40B4-BE49-F238E27FC236}">
                  <a16:creationId xmlns="" xmlns:a16="http://schemas.microsoft.com/office/drawing/2014/main" id="{31D609C8-2F3E-14CE-A965-F02EAAA5529A}"/>
                </a:ext>
              </a:extLst>
            </p:cNvPr>
            <p:cNvSpPr txBox="1"/>
            <p:nvPr/>
          </p:nvSpPr>
          <p:spPr>
            <a:xfrm>
              <a:off x="1389627" y="3545663"/>
              <a:ext cx="5486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512</a:t>
              </a:r>
              <a:endParaRPr lang="en-CH" sz="1400" dirty="0"/>
            </a:p>
          </p:txBody>
        </p:sp>
        <p:cxnSp>
          <p:nvCxnSpPr>
            <p:cNvPr id="31" name="Straight Arrow Connector 30">
              <a:extLst>
                <a:ext uri="{FF2B5EF4-FFF2-40B4-BE49-F238E27FC236}">
                  <a16:creationId xmlns="" xmlns:a16="http://schemas.microsoft.com/office/drawing/2014/main" id="{30CACF6F-3921-BF6C-51AE-DEB9FAF09B1A}"/>
                </a:ext>
              </a:extLst>
            </p:cNvPr>
            <p:cNvCxnSpPr>
              <a:cxnSpLocks/>
            </p:cNvCxnSpPr>
            <p:nvPr/>
          </p:nvCxnSpPr>
          <p:spPr>
            <a:xfrm>
              <a:off x="1382594" y="3564745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>
              <a:extLst>
                <a:ext uri="{FF2B5EF4-FFF2-40B4-BE49-F238E27FC236}">
                  <a16:creationId xmlns="" xmlns:a16="http://schemas.microsoft.com/office/drawing/2014/main" id="{EC8EF652-8D48-4898-A61D-9AABB00935FD}"/>
                </a:ext>
              </a:extLst>
            </p:cNvPr>
            <p:cNvSpPr txBox="1"/>
            <p:nvPr/>
          </p:nvSpPr>
          <p:spPr>
            <a:xfrm>
              <a:off x="1060358" y="3148270"/>
              <a:ext cx="661400" cy="369332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ReLU</a:t>
              </a:r>
              <a:endParaRPr lang="en-CH" dirty="0"/>
            </a:p>
          </p:txBody>
        </p:sp>
        <p:sp>
          <p:nvSpPr>
            <p:cNvPr id="39" name="TextBox 38">
              <a:extLst>
                <a:ext uri="{FF2B5EF4-FFF2-40B4-BE49-F238E27FC236}">
                  <a16:creationId xmlns="" xmlns:a16="http://schemas.microsoft.com/office/drawing/2014/main" id="{FBAEE39A-F0DF-04C3-4758-C159E1DE830F}"/>
                </a:ext>
              </a:extLst>
            </p:cNvPr>
            <p:cNvSpPr txBox="1"/>
            <p:nvPr/>
          </p:nvSpPr>
          <p:spPr>
            <a:xfrm>
              <a:off x="1389627" y="4129207"/>
              <a:ext cx="5486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512</a:t>
              </a:r>
              <a:endParaRPr lang="en-CH" sz="1400" dirty="0"/>
            </a:p>
          </p:txBody>
        </p:sp>
        <p:cxnSp>
          <p:nvCxnSpPr>
            <p:cNvPr id="40" name="Straight Arrow Connector 39">
              <a:extLst>
                <a:ext uri="{FF2B5EF4-FFF2-40B4-BE49-F238E27FC236}">
                  <a16:creationId xmlns="" xmlns:a16="http://schemas.microsoft.com/office/drawing/2014/main" id="{71A14AB1-3567-44C0-1C55-D16E66B52671}"/>
                </a:ext>
              </a:extLst>
            </p:cNvPr>
            <p:cNvCxnSpPr>
              <a:cxnSpLocks/>
            </p:cNvCxnSpPr>
            <p:nvPr/>
          </p:nvCxnSpPr>
          <p:spPr>
            <a:xfrm>
              <a:off x="1382594" y="4140540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>
              <a:extLst>
                <a:ext uri="{FF2B5EF4-FFF2-40B4-BE49-F238E27FC236}">
                  <a16:creationId xmlns="" xmlns:a16="http://schemas.microsoft.com/office/drawing/2014/main" id="{28DA578F-306A-B5A5-7899-FDF719A152B8}"/>
                </a:ext>
              </a:extLst>
            </p:cNvPr>
            <p:cNvSpPr txBox="1"/>
            <p:nvPr/>
          </p:nvSpPr>
          <p:spPr>
            <a:xfrm>
              <a:off x="1153204" y="3829225"/>
              <a:ext cx="45878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dirty="0"/>
                <a:t>BN</a:t>
              </a:r>
              <a:endParaRPr lang="en-CH" dirty="0"/>
            </a:p>
          </p:txBody>
        </p:sp>
        <p:sp>
          <p:nvSpPr>
            <p:cNvPr id="43" name="TextBox 42">
              <a:extLst>
                <a:ext uri="{FF2B5EF4-FFF2-40B4-BE49-F238E27FC236}">
                  <a16:creationId xmlns="" xmlns:a16="http://schemas.microsoft.com/office/drawing/2014/main" id="{59CC3189-BE11-9591-C3C6-328F7BE6B0D1}"/>
                </a:ext>
              </a:extLst>
            </p:cNvPr>
            <p:cNvSpPr txBox="1"/>
            <p:nvPr/>
          </p:nvSpPr>
          <p:spPr>
            <a:xfrm>
              <a:off x="1479309" y="5575393"/>
              <a:ext cx="37631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6</a:t>
              </a:r>
              <a:endParaRPr lang="en-CH" sz="1400" dirty="0"/>
            </a:p>
          </p:txBody>
        </p:sp>
        <p:sp>
          <p:nvSpPr>
            <p:cNvPr id="95" name="TextBox 94">
              <a:extLst>
                <a:ext uri="{FF2B5EF4-FFF2-40B4-BE49-F238E27FC236}">
                  <a16:creationId xmlns="" xmlns:a16="http://schemas.microsoft.com/office/drawing/2014/main" id="{9427C599-1472-05C3-522F-B117DFE4AE68}"/>
                </a:ext>
              </a:extLst>
            </p:cNvPr>
            <p:cNvSpPr txBox="1"/>
            <p:nvPr/>
          </p:nvSpPr>
          <p:spPr>
            <a:xfrm>
              <a:off x="622582" y="200527"/>
              <a:ext cx="349307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b="1" dirty="0"/>
                <a:t>¼ RWS </a:t>
              </a:r>
              <a:r>
                <a:rPr lang="fr-CH" b="1" dirty="0" err="1"/>
                <a:t>masks</a:t>
              </a:r>
              <a:r>
                <a:rPr lang="fr-CH" b="1" dirty="0"/>
                <a:t> (63,107,168 params)</a:t>
              </a:r>
              <a:endParaRPr lang="en-CH" b="1" dirty="0"/>
            </a:p>
          </p:txBody>
        </p:sp>
        <p:sp>
          <p:nvSpPr>
            <p:cNvPr id="119" name="TextBox 118">
              <a:extLst>
                <a:ext uri="{FF2B5EF4-FFF2-40B4-BE49-F238E27FC236}">
                  <a16:creationId xmlns="" xmlns:a16="http://schemas.microsoft.com/office/drawing/2014/main" id="{9850D44B-D043-0C71-4CAA-841319C53AE2}"/>
                </a:ext>
              </a:extLst>
            </p:cNvPr>
            <p:cNvSpPr txBox="1"/>
            <p:nvPr/>
          </p:nvSpPr>
          <p:spPr>
            <a:xfrm>
              <a:off x="3338726" y="2835417"/>
              <a:ext cx="5486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512</a:t>
              </a:r>
              <a:endParaRPr lang="en-CH" sz="1400" dirty="0"/>
            </a:p>
          </p:txBody>
        </p:sp>
        <p:sp>
          <p:nvSpPr>
            <p:cNvPr id="121" name="TextBox 120">
              <a:extLst>
                <a:ext uri="{FF2B5EF4-FFF2-40B4-BE49-F238E27FC236}">
                  <a16:creationId xmlns="" xmlns:a16="http://schemas.microsoft.com/office/drawing/2014/main" id="{3018A7FE-9EA2-8D91-3804-98F8E7762D28}"/>
                </a:ext>
              </a:extLst>
            </p:cNvPr>
            <p:cNvSpPr txBox="1"/>
            <p:nvPr/>
          </p:nvSpPr>
          <p:spPr>
            <a:xfrm>
              <a:off x="3424891" y="4900898"/>
              <a:ext cx="37631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6</a:t>
              </a:r>
              <a:endParaRPr lang="en-CH" sz="1400" dirty="0"/>
            </a:p>
          </p:txBody>
        </p:sp>
        <p:cxnSp>
          <p:nvCxnSpPr>
            <p:cNvPr id="122" name="Straight Arrow Connector 121">
              <a:extLst>
                <a:ext uri="{FF2B5EF4-FFF2-40B4-BE49-F238E27FC236}">
                  <a16:creationId xmlns="" xmlns:a16="http://schemas.microsoft.com/office/drawing/2014/main" id="{93980ABD-0DA4-F89B-E9A7-513522EEE51A}"/>
                </a:ext>
              </a:extLst>
            </p:cNvPr>
            <p:cNvCxnSpPr>
              <a:cxnSpLocks/>
            </p:cNvCxnSpPr>
            <p:nvPr/>
          </p:nvCxnSpPr>
          <p:spPr>
            <a:xfrm>
              <a:off x="3331693" y="2854499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Arrow Connector 122">
              <a:extLst>
                <a:ext uri="{FF2B5EF4-FFF2-40B4-BE49-F238E27FC236}">
                  <a16:creationId xmlns="" xmlns:a16="http://schemas.microsoft.com/office/drawing/2014/main" id="{CB0D616D-F36F-B1B2-0EC3-B53C8C57E698}"/>
                </a:ext>
              </a:extLst>
            </p:cNvPr>
            <p:cNvCxnSpPr>
              <a:cxnSpLocks/>
            </p:cNvCxnSpPr>
            <p:nvPr/>
          </p:nvCxnSpPr>
          <p:spPr>
            <a:xfrm>
              <a:off x="3331693" y="4914863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4" name="TextBox 123">
              <a:extLst>
                <a:ext uri="{FF2B5EF4-FFF2-40B4-BE49-F238E27FC236}">
                  <a16:creationId xmlns="" xmlns:a16="http://schemas.microsoft.com/office/drawing/2014/main" id="{BA0D3270-998C-89C6-B7B6-E5198828A989}"/>
                </a:ext>
              </a:extLst>
            </p:cNvPr>
            <p:cNvSpPr txBox="1"/>
            <p:nvPr/>
          </p:nvSpPr>
          <p:spPr>
            <a:xfrm>
              <a:off x="2855697" y="5194709"/>
              <a:ext cx="951992" cy="369332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Softmax</a:t>
              </a:r>
              <a:endParaRPr lang="en-CH" dirty="0"/>
            </a:p>
          </p:txBody>
        </p:sp>
        <p:cxnSp>
          <p:nvCxnSpPr>
            <p:cNvPr id="125" name="Straight Arrow Connector 124">
              <a:extLst>
                <a:ext uri="{FF2B5EF4-FFF2-40B4-BE49-F238E27FC236}">
                  <a16:creationId xmlns="" xmlns:a16="http://schemas.microsoft.com/office/drawing/2014/main" id="{241CDAB3-8701-96A1-AB0D-9F73A3B1B9DE}"/>
                </a:ext>
              </a:extLst>
            </p:cNvPr>
            <p:cNvCxnSpPr>
              <a:cxnSpLocks/>
            </p:cNvCxnSpPr>
            <p:nvPr/>
          </p:nvCxnSpPr>
          <p:spPr>
            <a:xfrm>
              <a:off x="3331693" y="5580710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26" name="TextBox 125">
                  <a:extLst>
                    <a:ext uri="{FF2B5EF4-FFF2-40B4-BE49-F238E27FC236}">
                      <a16:creationId xmlns="" xmlns:a16="http://schemas.microsoft.com/office/drawing/2014/main" id="{40A7B879-0140-4829-D948-8A778BFED56A}"/>
                    </a:ext>
                  </a:extLst>
                </p:cNvPr>
                <p:cNvSpPr txBox="1"/>
                <p:nvPr/>
              </p:nvSpPr>
              <p:spPr>
                <a:xfrm>
                  <a:off x="2433486" y="5880963"/>
                  <a:ext cx="1810479" cy="44409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fr-CH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CH" b="0" i="1" smtClean="0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sSub>
                              <m:sSubPr>
                                <m:ctrlPr>
                                  <a:rPr lang="fr-CH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H" b="0" i="1" smtClean="0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e>
                              <m:sub>
                                <m:r>
                                  <a:rPr lang="fr-CH" b="0" i="1" smtClean="0">
                                    <a:latin typeface="Cambria Math" panose="02040503050406030204" pitchFamily="18" charset="0"/>
                                  </a:rPr>
                                  <m:t>𝑟𝑤</m:t>
                                </m:r>
                                <m:sSub>
                                  <m:sSubPr>
                                    <m:ctrlPr>
                                      <a:rPr lang="fr-CH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fr-CH" b="0" i="1" smtClean="0">
                                        <a:latin typeface="Cambria Math" panose="02040503050406030204" pitchFamily="18" charset="0"/>
                                      </a:rPr>
                                      <m:t>𝑠</m:t>
                                    </m:r>
                                  </m:e>
                                  <m:sub>
                                    <m:r>
                                      <a:rPr lang="fr-CH" b="0" i="1" smtClean="0">
                                        <a:latin typeface="Cambria Math" panose="02040503050406030204" pitchFamily="18" charset="0"/>
                                      </a:rPr>
                                      <m:t>23,1</m:t>
                                    </m:r>
                                  </m:sub>
                                </m:sSub>
                              </m:sub>
                            </m:sSub>
                          </m:sub>
                        </m:sSub>
                        <m:d>
                          <m:dPr>
                            <m:ctrlPr>
                              <a:rPr lang="fr-CH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r-CH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∙| </m:t>
                            </m:r>
                            <m:r>
                              <a:rPr lang="fr-CH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𝒙</m:t>
                            </m:r>
                          </m:e>
                        </m:d>
                      </m:oMath>
                    </m:oMathPara>
                  </a14:m>
                  <a:endParaRPr lang="en-CH" dirty="0"/>
                </a:p>
              </p:txBody>
            </p:sp>
          </mc:Choice>
          <mc:Fallback xmlns="">
            <p:sp>
              <p:nvSpPr>
                <p:cNvPr id="126" name="TextBox 125">
                  <a:extLst>
                    <a:ext uri="{FF2B5EF4-FFF2-40B4-BE49-F238E27FC236}">
                      <a16:creationId xmlns:a16="http://schemas.microsoft.com/office/drawing/2014/main" id="{40A7B879-0140-4829-D948-8A778BFED56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433486" y="5880963"/>
                  <a:ext cx="1810479" cy="444096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CH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127" name="TextBox 126">
              <a:extLst>
                <a:ext uri="{FF2B5EF4-FFF2-40B4-BE49-F238E27FC236}">
                  <a16:creationId xmlns="" xmlns:a16="http://schemas.microsoft.com/office/drawing/2014/main" id="{CC2A1F1A-6026-BCB6-3BC6-93F282746A5A}"/>
                </a:ext>
              </a:extLst>
            </p:cNvPr>
            <p:cNvSpPr txBox="1"/>
            <p:nvPr/>
          </p:nvSpPr>
          <p:spPr>
            <a:xfrm>
              <a:off x="3335209" y="3545919"/>
              <a:ext cx="5486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512</a:t>
              </a:r>
              <a:endParaRPr lang="en-CH" sz="1400" dirty="0"/>
            </a:p>
          </p:txBody>
        </p:sp>
        <p:cxnSp>
          <p:nvCxnSpPr>
            <p:cNvPr id="128" name="Straight Arrow Connector 127">
              <a:extLst>
                <a:ext uri="{FF2B5EF4-FFF2-40B4-BE49-F238E27FC236}">
                  <a16:creationId xmlns="" xmlns:a16="http://schemas.microsoft.com/office/drawing/2014/main" id="{B534B689-2407-6A4D-82A9-1D4C92C956AA}"/>
                </a:ext>
              </a:extLst>
            </p:cNvPr>
            <p:cNvCxnSpPr>
              <a:cxnSpLocks/>
            </p:cNvCxnSpPr>
            <p:nvPr/>
          </p:nvCxnSpPr>
          <p:spPr>
            <a:xfrm>
              <a:off x="3328176" y="3565001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TextBox 128">
              <a:extLst>
                <a:ext uri="{FF2B5EF4-FFF2-40B4-BE49-F238E27FC236}">
                  <a16:creationId xmlns="" xmlns:a16="http://schemas.microsoft.com/office/drawing/2014/main" id="{10E13B05-9F45-7E20-92E1-8C9EEE155BCF}"/>
                </a:ext>
              </a:extLst>
            </p:cNvPr>
            <p:cNvSpPr txBox="1"/>
            <p:nvPr/>
          </p:nvSpPr>
          <p:spPr>
            <a:xfrm>
              <a:off x="3005940" y="3148526"/>
              <a:ext cx="661400" cy="369332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ReLU</a:t>
              </a:r>
              <a:endParaRPr lang="en-CH" dirty="0"/>
            </a:p>
          </p:txBody>
        </p:sp>
        <p:sp>
          <p:nvSpPr>
            <p:cNvPr id="130" name="TextBox 129">
              <a:extLst>
                <a:ext uri="{FF2B5EF4-FFF2-40B4-BE49-F238E27FC236}">
                  <a16:creationId xmlns="" xmlns:a16="http://schemas.microsoft.com/office/drawing/2014/main" id="{C862A2AA-547C-8AAC-F472-426A60367883}"/>
                </a:ext>
              </a:extLst>
            </p:cNvPr>
            <p:cNvSpPr txBox="1"/>
            <p:nvPr/>
          </p:nvSpPr>
          <p:spPr>
            <a:xfrm>
              <a:off x="3335209" y="4129463"/>
              <a:ext cx="5486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512</a:t>
              </a:r>
              <a:endParaRPr lang="en-CH" sz="1400" dirty="0"/>
            </a:p>
          </p:txBody>
        </p:sp>
        <p:cxnSp>
          <p:nvCxnSpPr>
            <p:cNvPr id="131" name="Straight Arrow Connector 130">
              <a:extLst>
                <a:ext uri="{FF2B5EF4-FFF2-40B4-BE49-F238E27FC236}">
                  <a16:creationId xmlns="" xmlns:a16="http://schemas.microsoft.com/office/drawing/2014/main" id="{0A0AD6A0-4363-13CC-8ACD-289B52A4904B}"/>
                </a:ext>
              </a:extLst>
            </p:cNvPr>
            <p:cNvCxnSpPr>
              <a:cxnSpLocks/>
            </p:cNvCxnSpPr>
            <p:nvPr/>
          </p:nvCxnSpPr>
          <p:spPr>
            <a:xfrm>
              <a:off x="3328176" y="4140796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xtBox 131">
              <a:extLst>
                <a:ext uri="{FF2B5EF4-FFF2-40B4-BE49-F238E27FC236}">
                  <a16:creationId xmlns="" xmlns:a16="http://schemas.microsoft.com/office/drawing/2014/main" id="{20C72002-9645-3904-D97E-C0F768209A58}"/>
                </a:ext>
              </a:extLst>
            </p:cNvPr>
            <p:cNvSpPr txBox="1"/>
            <p:nvPr/>
          </p:nvSpPr>
          <p:spPr>
            <a:xfrm>
              <a:off x="3098786" y="3829481"/>
              <a:ext cx="45878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dirty="0"/>
                <a:t>BN</a:t>
              </a:r>
              <a:endParaRPr lang="en-CH" dirty="0"/>
            </a:p>
          </p:txBody>
        </p:sp>
        <p:sp>
          <p:nvSpPr>
            <p:cNvPr id="133" name="TextBox 132">
              <a:extLst>
                <a:ext uri="{FF2B5EF4-FFF2-40B4-BE49-F238E27FC236}">
                  <a16:creationId xmlns="" xmlns:a16="http://schemas.microsoft.com/office/drawing/2014/main" id="{ED613F28-675B-8E23-E82D-870DCC24E98E}"/>
                </a:ext>
              </a:extLst>
            </p:cNvPr>
            <p:cNvSpPr txBox="1"/>
            <p:nvPr/>
          </p:nvSpPr>
          <p:spPr>
            <a:xfrm>
              <a:off x="3424891" y="5575649"/>
              <a:ext cx="37631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6</a:t>
              </a:r>
              <a:endParaRPr lang="en-CH" sz="1400" dirty="0"/>
            </a:p>
          </p:txBody>
        </p:sp>
        <p:cxnSp>
          <p:nvCxnSpPr>
            <p:cNvPr id="153" name="Straight Arrow Connector 152">
              <a:extLst>
                <a:ext uri="{FF2B5EF4-FFF2-40B4-BE49-F238E27FC236}">
                  <a16:creationId xmlns="" xmlns:a16="http://schemas.microsoft.com/office/drawing/2014/main" id="{AE9D0CC0-FB28-1E34-A4A8-74438F8F52A3}"/>
                </a:ext>
              </a:extLst>
            </p:cNvPr>
            <p:cNvCxnSpPr>
              <a:cxnSpLocks/>
              <a:endCxn id="17" idx="0"/>
            </p:cNvCxnSpPr>
            <p:nvPr/>
          </p:nvCxnSpPr>
          <p:spPr>
            <a:xfrm flipH="1">
              <a:off x="1383811" y="2271969"/>
              <a:ext cx="974400" cy="209215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Arrow Connector 158">
              <a:extLst>
                <a:ext uri="{FF2B5EF4-FFF2-40B4-BE49-F238E27FC236}">
                  <a16:creationId xmlns="" xmlns:a16="http://schemas.microsoft.com/office/drawing/2014/main" id="{9CAC0591-23EC-8509-A2A7-8002B659EAE6}"/>
                </a:ext>
              </a:extLst>
            </p:cNvPr>
            <p:cNvCxnSpPr>
              <a:cxnSpLocks/>
              <a:endCxn id="78" idx="0"/>
            </p:cNvCxnSpPr>
            <p:nvPr/>
          </p:nvCxnSpPr>
          <p:spPr>
            <a:xfrm>
              <a:off x="2372635" y="2271969"/>
              <a:ext cx="963414" cy="209215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0" name="TextBox 169">
              <a:extLst>
                <a:ext uri="{FF2B5EF4-FFF2-40B4-BE49-F238E27FC236}">
                  <a16:creationId xmlns="" xmlns:a16="http://schemas.microsoft.com/office/drawing/2014/main" id="{85A14214-4042-EDFA-8362-FBBFC606A2CE}"/>
                </a:ext>
              </a:extLst>
            </p:cNvPr>
            <p:cNvSpPr txBox="1"/>
            <p:nvPr/>
          </p:nvSpPr>
          <p:spPr>
            <a:xfrm>
              <a:off x="2039855" y="3629170"/>
              <a:ext cx="636713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sz="4400" b="1" dirty="0"/>
                <a:t>···</a:t>
              </a:r>
              <a:endParaRPr lang="en-CH" sz="4400" b="1" dirty="0"/>
            </a:p>
          </p:txBody>
        </p:sp>
        <p:sp>
          <p:nvSpPr>
            <p:cNvPr id="78" name="TextBox 77">
              <a:extLst>
                <a:ext uri="{FF2B5EF4-FFF2-40B4-BE49-F238E27FC236}">
                  <a16:creationId xmlns="" xmlns:a16="http://schemas.microsoft.com/office/drawing/2014/main" id="{508D517A-3775-4380-BDDC-1E6BD8849CB8}"/>
                </a:ext>
              </a:extLst>
            </p:cNvPr>
            <p:cNvSpPr txBox="1"/>
            <p:nvPr/>
          </p:nvSpPr>
          <p:spPr>
            <a:xfrm>
              <a:off x="2934881" y="2481184"/>
              <a:ext cx="802335" cy="369332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="" xmlns:a16="http://schemas.microsoft.com/office/drawing/2014/main" id="{A200EAD6-1F5D-9338-4DC3-30E9D69F89FD}"/>
                </a:ext>
              </a:extLst>
            </p:cNvPr>
            <p:cNvSpPr txBox="1"/>
            <p:nvPr/>
          </p:nvSpPr>
          <p:spPr>
            <a:xfrm>
              <a:off x="2922831" y="4487798"/>
              <a:ext cx="802335" cy="369332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p:sp>
          <p:nvSpPr>
            <p:cNvPr id="203" name="TextBox 202">
              <a:extLst>
                <a:ext uri="{FF2B5EF4-FFF2-40B4-BE49-F238E27FC236}">
                  <a16:creationId xmlns="" xmlns:a16="http://schemas.microsoft.com/office/drawing/2014/main" id="{377792FC-2DC9-ED8A-B9F7-1F1FF0F3AA84}"/>
                </a:ext>
              </a:extLst>
            </p:cNvPr>
            <p:cNvSpPr txBox="1"/>
            <p:nvPr/>
          </p:nvSpPr>
          <p:spPr>
            <a:xfrm>
              <a:off x="2174690" y="3687685"/>
              <a:ext cx="36740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sz="1400" dirty="0"/>
                <a:t>48</a:t>
              </a:r>
              <a:endParaRPr lang="en-CH" sz="1400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="" xmlns:a16="http://schemas.microsoft.com/office/drawing/2014/main" id="{9F5AA92F-5278-176A-C216-138EC0880E2B}"/>
              </a:ext>
            </a:extLst>
          </p:cNvPr>
          <p:cNvGrpSpPr/>
          <p:nvPr/>
        </p:nvGrpSpPr>
        <p:grpSpPr>
          <a:xfrm>
            <a:off x="5782466" y="0"/>
            <a:ext cx="5710304" cy="6124276"/>
            <a:chOff x="5340558" y="200527"/>
            <a:chExt cx="5710304" cy="6124276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57" name="TextBox 156">
                  <a:extLst>
                    <a:ext uri="{FF2B5EF4-FFF2-40B4-BE49-F238E27FC236}">
                      <a16:creationId xmlns="" xmlns:a16="http://schemas.microsoft.com/office/drawing/2014/main" id="{52EA0199-77E7-66AE-EB19-8E4E3C6838DF}"/>
                    </a:ext>
                  </a:extLst>
                </p:cNvPr>
                <p:cNvSpPr txBox="1"/>
                <p:nvPr/>
              </p:nvSpPr>
              <p:spPr>
                <a:xfrm>
                  <a:off x="5340558" y="5879809"/>
                  <a:ext cx="1271064" cy="42787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fr-CH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CH" b="0" i="1" smtClean="0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sSub>
                              <m:sSubPr>
                                <m:ctrlPr>
                                  <a:rPr lang="fr-CH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H" b="0" i="1" smtClean="0">
                                    <a:latin typeface="Cambria Math" panose="02040503050406030204" pitchFamily="18" charset="0"/>
                                  </a:rPr>
                                  <m:t>𝑝</m:t>
                                </m:r>
                              </m:e>
                              <m:sub>
                                <m:r>
                                  <a:rPr lang="fr-CH" b="0" i="1" smtClean="0">
                                    <a:latin typeface="Cambria Math" panose="02040503050406030204" pitchFamily="18" charset="0"/>
                                  </a:rPr>
                                  <m:t>𝑏𝑙𝑜𝑐</m:t>
                                </m:r>
                                <m:sSub>
                                  <m:sSubPr>
                                    <m:ctrlPr>
                                      <a:rPr lang="fr-CH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fr-CH" b="0" i="1" smtClean="0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e>
                                  <m:sub>
                                    <m:r>
                                      <a:rPr lang="fr-CH" b="0" i="1" smtClean="0">
                                        <a:latin typeface="Cambria Math" panose="02040503050406030204" pitchFamily="18" charset="0"/>
                                      </a:rPr>
                                      <m:t>0</m:t>
                                    </m:r>
                                  </m:sub>
                                </m:sSub>
                              </m:sub>
                            </m:sSub>
                          </m:sub>
                        </m:sSub>
                        <m:d>
                          <m:dPr>
                            <m:ctrlPr>
                              <a:rPr lang="fr-CH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r-CH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∙| </m:t>
                            </m:r>
                            <m:r>
                              <a:rPr lang="fr-CH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𝒙</m:t>
                            </m:r>
                          </m:e>
                        </m:d>
                      </m:oMath>
                    </m:oMathPara>
                  </a14:m>
                  <a:endParaRPr lang="en-CH" dirty="0"/>
                </a:p>
              </p:txBody>
            </p:sp>
          </mc:Choice>
          <mc:Fallback xmlns="">
            <p:sp>
              <p:nvSpPr>
                <p:cNvPr id="157" name="TextBox 156">
                  <a:extLst>
                    <a:ext uri="{FF2B5EF4-FFF2-40B4-BE49-F238E27FC236}">
                      <a16:creationId xmlns:a16="http://schemas.microsoft.com/office/drawing/2014/main" id="{52EA0199-77E7-66AE-EB19-8E4E3C6838DF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340558" y="5879809"/>
                  <a:ext cx="1271064" cy="427874"/>
                </a:xfrm>
                <a:prstGeom prst="rect">
                  <a:avLst/>
                </a:prstGeom>
                <a:blipFill>
                  <a:blip r:embed="rId4"/>
                  <a:stretch>
                    <a:fillRect l="-1442" r="-3365"/>
                  </a:stretch>
                </a:blipFill>
              </p:spPr>
              <p:txBody>
                <a:bodyPr/>
                <a:lstStyle/>
                <a:p>
                  <a:r>
                    <a:rPr lang="en-CH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53" name="TextBox 52">
              <a:extLst>
                <a:ext uri="{FF2B5EF4-FFF2-40B4-BE49-F238E27FC236}">
                  <a16:creationId xmlns="" xmlns:a16="http://schemas.microsoft.com/office/drawing/2014/main" id="{4778F096-A4C2-59B7-ADA5-A7BC62BEA96C}"/>
                </a:ext>
              </a:extLst>
            </p:cNvPr>
            <p:cNvSpPr txBox="1"/>
            <p:nvPr/>
          </p:nvSpPr>
          <p:spPr>
            <a:xfrm>
              <a:off x="7132252" y="1312071"/>
              <a:ext cx="1870864" cy="646331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 err="1"/>
                <a:t>ResNet</a:t>
              </a:r>
              <a:endParaRPr lang="fr-CH" dirty="0"/>
            </a:p>
            <a:p>
              <a:pPr algn="ctr"/>
              <a:r>
                <a:rPr lang="fr-CH" dirty="0"/>
                <a:t>6 </a:t>
              </a:r>
              <a:r>
                <a:rPr lang="fr-CH" dirty="0" err="1"/>
                <a:t>residual</a:t>
              </a:r>
              <a:r>
                <a:rPr lang="fr-CH" dirty="0"/>
                <a:t> blocks</a:t>
              </a:r>
              <a:endParaRPr lang="en-CH" dirty="0"/>
            </a:p>
          </p:txBody>
        </p:sp>
        <p:sp>
          <p:nvSpPr>
            <p:cNvPr id="54" name="TextBox 53">
              <a:extLst>
                <a:ext uri="{FF2B5EF4-FFF2-40B4-BE49-F238E27FC236}">
                  <a16:creationId xmlns="" xmlns:a16="http://schemas.microsoft.com/office/drawing/2014/main" id="{D307238B-4ED8-68FB-96C8-DFE2E70D7215}"/>
                </a:ext>
              </a:extLst>
            </p:cNvPr>
            <p:cNvSpPr txBox="1"/>
            <p:nvPr/>
          </p:nvSpPr>
          <p:spPr>
            <a:xfrm>
              <a:off x="8074719" y="981410"/>
              <a:ext cx="81592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400</a:t>
              </a:r>
              <a:endParaRPr lang="en-CH" sz="1400" dirty="0"/>
            </a:p>
          </p:txBody>
        </p:sp>
        <p:sp>
          <p:nvSpPr>
            <p:cNvPr id="55" name="TextBox 54">
              <a:extLst>
                <a:ext uri="{FF2B5EF4-FFF2-40B4-BE49-F238E27FC236}">
                  <a16:creationId xmlns="" xmlns:a16="http://schemas.microsoft.com/office/drawing/2014/main" id="{D4B75098-A40F-043A-DA8E-B218E3F039DB}"/>
                </a:ext>
              </a:extLst>
            </p:cNvPr>
            <p:cNvSpPr txBox="1"/>
            <p:nvPr/>
          </p:nvSpPr>
          <p:spPr>
            <a:xfrm>
              <a:off x="8078234" y="1975071"/>
              <a:ext cx="5486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2816</a:t>
              </a:r>
              <a:endParaRPr lang="en-CH" sz="1400" dirty="0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6" name="TextBox 55">
                  <a:extLst>
                    <a:ext uri="{FF2B5EF4-FFF2-40B4-BE49-F238E27FC236}">
                      <a16:creationId xmlns="" xmlns:a16="http://schemas.microsoft.com/office/drawing/2014/main" id="{97A1E7D1-D079-A3E9-0743-F00363A5CA72}"/>
                    </a:ext>
                  </a:extLst>
                </p:cNvPr>
                <p:cNvSpPr txBox="1"/>
                <p:nvPr/>
              </p:nvSpPr>
              <p:spPr>
                <a:xfrm>
                  <a:off x="7598675" y="592743"/>
                  <a:ext cx="973408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CH" dirty="0"/>
                    <a:t>Round </a:t>
                  </a:r>
                  <a14:m>
                    <m:oMath xmlns:m="http://schemas.openxmlformats.org/officeDocument/2006/math">
                      <m:r>
                        <a:rPr lang="fr-CH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a14:m>
                  <a:endParaRPr lang="en-CH" dirty="0"/>
                </a:p>
              </p:txBody>
            </p:sp>
          </mc:Choice>
          <mc:Fallback xmlns="">
            <p:sp>
              <p:nvSpPr>
                <p:cNvPr id="56" name="TextBox 55">
                  <a:extLst>
                    <a:ext uri="{FF2B5EF4-FFF2-40B4-BE49-F238E27FC236}">
                      <a16:creationId xmlns:a16="http://schemas.microsoft.com/office/drawing/2014/main" id="{97A1E7D1-D079-A3E9-0743-F00363A5CA72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7598675" y="592743"/>
                  <a:ext cx="973408" cy="369332"/>
                </a:xfrm>
                <a:prstGeom prst="rect">
                  <a:avLst/>
                </a:prstGeom>
                <a:blipFill>
                  <a:blip r:embed="rId5"/>
                  <a:stretch>
                    <a:fillRect l="-5625" t="-8197" b="-24590"/>
                  </a:stretch>
                </a:blipFill>
              </p:spPr>
              <p:txBody>
                <a:bodyPr/>
                <a:lstStyle/>
                <a:p>
                  <a:r>
                    <a:rPr lang="en-CH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57" name="Straight Arrow Connector 56">
              <a:extLst>
                <a:ext uri="{FF2B5EF4-FFF2-40B4-BE49-F238E27FC236}">
                  <a16:creationId xmlns="" xmlns:a16="http://schemas.microsoft.com/office/drawing/2014/main" id="{F904AD01-083C-E539-E865-F7BBB51A7863}"/>
                </a:ext>
              </a:extLst>
            </p:cNvPr>
            <p:cNvCxnSpPr>
              <a:cxnSpLocks/>
            </p:cNvCxnSpPr>
            <p:nvPr/>
          </p:nvCxnSpPr>
          <p:spPr>
            <a:xfrm>
              <a:off x="8074719" y="981410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TextBox 58">
              <a:extLst>
                <a:ext uri="{FF2B5EF4-FFF2-40B4-BE49-F238E27FC236}">
                  <a16:creationId xmlns="" xmlns:a16="http://schemas.microsoft.com/office/drawing/2014/main" id="{E5AAB930-53F0-33D9-AFAD-6AA9077881A7}"/>
                </a:ext>
              </a:extLst>
            </p:cNvPr>
            <p:cNvSpPr txBox="1"/>
            <p:nvPr/>
          </p:nvSpPr>
          <p:spPr>
            <a:xfrm>
              <a:off x="7602192" y="2834263"/>
              <a:ext cx="5486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512</a:t>
              </a:r>
              <a:endParaRPr lang="en-CH" sz="1400" dirty="0"/>
            </a:p>
          </p:txBody>
        </p:sp>
        <p:cxnSp>
          <p:nvCxnSpPr>
            <p:cNvPr id="60" name="Straight Arrow Connector 59">
              <a:extLst>
                <a:ext uri="{FF2B5EF4-FFF2-40B4-BE49-F238E27FC236}">
                  <a16:creationId xmlns="" xmlns:a16="http://schemas.microsoft.com/office/drawing/2014/main" id="{CF695455-4282-F6E3-630F-9A178A653C98}"/>
                </a:ext>
              </a:extLst>
            </p:cNvPr>
            <p:cNvCxnSpPr>
              <a:cxnSpLocks/>
            </p:cNvCxnSpPr>
            <p:nvPr/>
          </p:nvCxnSpPr>
          <p:spPr>
            <a:xfrm>
              <a:off x="8074718" y="1988934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TextBox 61">
              <a:extLst>
                <a:ext uri="{FF2B5EF4-FFF2-40B4-BE49-F238E27FC236}">
                  <a16:creationId xmlns="" xmlns:a16="http://schemas.microsoft.com/office/drawing/2014/main" id="{60153ED5-7725-0949-5821-ABD706E68284}"/>
                </a:ext>
              </a:extLst>
            </p:cNvPr>
            <p:cNvSpPr txBox="1"/>
            <p:nvPr/>
          </p:nvSpPr>
          <p:spPr>
            <a:xfrm>
              <a:off x="7688357" y="4899744"/>
              <a:ext cx="37631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6</a:t>
              </a:r>
              <a:endParaRPr lang="en-CH" sz="1400" dirty="0"/>
            </a:p>
          </p:txBody>
        </p:sp>
        <p:cxnSp>
          <p:nvCxnSpPr>
            <p:cNvPr id="63" name="Straight Arrow Connector 62">
              <a:extLst>
                <a:ext uri="{FF2B5EF4-FFF2-40B4-BE49-F238E27FC236}">
                  <a16:creationId xmlns="" xmlns:a16="http://schemas.microsoft.com/office/drawing/2014/main" id="{B68A7117-B463-2089-C60F-B8608F88E021}"/>
                </a:ext>
              </a:extLst>
            </p:cNvPr>
            <p:cNvCxnSpPr>
              <a:cxnSpLocks/>
            </p:cNvCxnSpPr>
            <p:nvPr/>
          </p:nvCxnSpPr>
          <p:spPr>
            <a:xfrm>
              <a:off x="7595159" y="2853345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Arrow Connector 63">
              <a:extLst>
                <a:ext uri="{FF2B5EF4-FFF2-40B4-BE49-F238E27FC236}">
                  <a16:creationId xmlns="" xmlns:a16="http://schemas.microsoft.com/office/drawing/2014/main" id="{4F04EA9A-42F3-6F11-A33C-8316FE583ED1}"/>
                </a:ext>
              </a:extLst>
            </p:cNvPr>
            <p:cNvCxnSpPr>
              <a:cxnSpLocks/>
            </p:cNvCxnSpPr>
            <p:nvPr/>
          </p:nvCxnSpPr>
          <p:spPr>
            <a:xfrm>
              <a:off x="7595159" y="4913709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Box 64">
              <a:extLst>
                <a:ext uri="{FF2B5EF4-FFF2-40B4-BE49-F238E27FC236}">
                  <a16:creationId xmlns="" xmlns:a16="http://schemas.microsoft.com/office/drawing/2014/main" id="{5ADE4285-D509-C619-F134-14AB9FC65F4A}"/>
                </a:ext>
              </a:extLst>
            </p:cNvPr>
            <p:cNvSpPr txBox="1"/>
            <p:nvPr/>
          </p:nvSpPr>
          <p:spPr>
            <a:xfrm>
              <a:off x="7119163" y="5193555"/>
              <a:ext cx="951992" cy="369332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Softmax</a:t>
              </a:r>
              <a:endParaRPr lang="en-CH" dirty="0"/>
            </a:p>
          </p:txBody>
        </p:sp>
        <p:cxnSp>
          <p:nvCxnSpPr>
            <p:cNvPr id="66" name="Straight Arrow Connector 65">
              <a:extLst>
                <a:ext uri="{FF2B5EF4-FFF2-40B4-BE49-F238E27FC236}">
                  <a16:creationId xmlns="" xmlns:a16="http://schemas.microsoft.com/office/drawing/2014/main" id="{6B1F2F0C-E4EC-89D8-C342-223A782691EE}"/>
                </a:ext>
              </a:extLst>
            </p:cNvPr>
            <p:cNvCxnSpPr>
              <a:cxnSpLocks/>
            </p:cNvCxnSpPr>
            <p:nvPr/>
          </p:nvCxnSpPr>
          <p:spPr>
            <a:xfrm>
              <a:off x="7595159" y="5579556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7" name="TextBox 66">
                  <a:extLst>
                    <a:ext uri="{FF2B5EF4-FFF2-40B4-BE49-F238E27FC236}">
                      <a16:creationId xmlns="" xmlns:a16="http://schemas.microsoft.com/office/drawing/2014/main" id="{47222931-9076-A407-98EA-AFD36A03334B}"/>
                    </a:ext>
                  </a:extLst>
                </p:cNvPr>
                <p:cNvSpPr txBox="1"/>
                <p:nvPr/>
              </p:nvSpPr>
              <p:spPr>
                <a:xfrm>
                  <a:off x="6652558" y="5879809"/>
                  <a:ext cx="1870862" cy="44499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fr-CH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CH" b="0" i="1" smtClean="0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sSub>
                              <m:sSubPr>
                                <m:ctrlPr>
                                  <a:rPr lang="fr-CH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H" b="0" i="1" smtClean="0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e>
                              <m:sub>
                                <m:r>
                                  <a:rPr lang="fr-CH" b="0" i="1" smtClean="0">
                                    <a:latin typeface="Cambria Math" panose="02040503050406030204" pitchFamily="18" charset="0"/>
                                  </a:rPr>
                                  <m:t>𝑟𝑜𝑢𝑛</m:t>
                                </m:r>
                                <m:sSub>
                                  <m:sSubPr>
                                    <m:ctrlPr>
                                      <a:rPr lang="fr-CH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fr-CH" b="0" i="1" smtClean="0">
                                        <a:latin typeface="Cambria Math" panose="02040503050406030204" pitchFamily="18" charset="0"/>
                                      </a:rPr>
                                      <m:t>𝑑</m:t>
                                    </m:r>
                                  </m:e>
                                  <m:sub>
                                    <m:r>
                                      <a:rPr lang="fr-CH" b="0" i="1" smtClean="0">
                                        <a:latin typeface="Cambria Math" panose="02040503050406030204" pitchFamily="18" charset="0"/>
                                      </a:rPr>
                                      <m:t>0,0</m:t>
                                    </m:r>
                                  </m:sub>
                                </m:sSub>
                              </m:sub>
                            </m:sSub>
                          </m:sub>
                        </m:sSub>
                        <m:d>
                          <m:dPr>
                            <m:ctrlPr>
                              <a:rPr lang="fr-CH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r-CH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∙| </m:t>
                            </m:r>
                            <m:r>
                              <a:rPr lang="fr-CH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𝒙</m:t>
                            </m:r>
                          </m:e>
                        </m:d>
                      </m:oMath>
                    </m:oMathPara>
                  </a14:m>
                  <a:endParaRPr lang="en-CH" dirty="0"/>
                </a:p>
              </p:txBody>
            </p:sp>
          </mc:Choice>
          <mc:Fallback xmlns="">
            <p:sp>
              <p:nvSpPr>
                <p:cNvPr id="67" name="TextBox 66">
                  <a:extLst>
                    <a:ext uri="{FF2B5EF4-FFF2-40B4-BE49-F238E27FC236}">
                      <a16:creationId xmlns:a16="http://schemas.microsoft.com/office/drawing/2014/main" id="{47222931-9076-A407-98EA-AFD36A03334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652558" y="5879809"/>
                  <a:ext cx="1870862" cy="444994"/>
                </a:xfrm>
                <a:prstGeom prst="rect">
                  <a:avLst/>
                </a:prstGeom>
                <a:blipFill>
                  <a:blip r:embed="rId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CH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68" name="TextBox 67">
              <a:extLst>
                <a:ext uri="{FF2B5EF4-FFF2-40B4-BE49-F238E27FC236}">
                  <a16:creationId xmlns="" xmlns:a16="http://schemas.microsoft.com/office/drawing/2014/main" id="{602BC106-B7A0-81B2-2BBE-A8BEAF231DDC}"/>
                </a:ext>
              </a:extLst>
            </p:cNvPr>
            <p:cNvSpPr txBox="1"/>
            <p:nvPr/>
          </p:nvSpPr>
          <p:spPr>
            <a:xfrm>
              <a:off x="7598675" y="3544765"/>
              <a:ext cx="5486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512</a:t>
              </a:r>
              <a:endParaRPr lang="en-CH" sz="1400" dirty="0"/>
            </a:p>
          </p:txBody>
        </p:sp>
        <p:cxnSp>
          <p:nvCxnSpPr>
            <p:cNvPr id="69" name="Straight Arrow Connector 68">
              <a:extLst>
                <a:ext uri="{FF2B5EF4-FFF2-40B4-BE49-F238E27FC236}">
                  <a16:creationId xmlns="" xmlns:a16="http://schemas.microsoft.com/office/drawing/2014/main" id="{125CE8C4-7B7E-DE9A-0E8B-ECD4A8D33B71}"/>
                </a:ext>
              </a:extLst>
            </p:cNvPr>
            <p:cNvCxnSpPr>
              <a:cxnSpLocks/>
            </p:cNvCxnSpPr>
            <p:nvPr/>
          </p:nvCxnSpPr>
          <p:spPr>
            <a:xfrm>
              <a:off x="7591642" y="3563847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TextBox 69">
              <a:extLst>
                <a:ext uri="{FF2B5EF4-FFF2-40B4-BE49-F238E27FC236}">
                  <a16:creationId xmlns="" xmlns:a16="http://schemas.microsoft.com/office/drawing/2014/main" id="{F21317AE-0735-54AC-49CC-9FA74C397A05}"/>
                </a:ext>
              </a:extLst>
            </p:cNvPr>
            <p:cNvSpPr txBox="1"/>
            <p:nvPr/>
          </p:nvSpPr>
          <p:spPr>
            <a:xfrm>
              <a:off x="7269406" y="3147372"/>
              <a:ext cx="661400" cy="369332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ReLU</a:t>
              </a:r>
              <a:endParaRPr lang="en-CH" dirty="0"/>
            </a:p>
          </p:txBody>
        </p:sp>
        <p:sp>
          <p:nvSpPr>
            <p:cNvPr id="71" name="TextBox 70">
              <a:extLst>
                <a:ext uri="{FF2B5EF4-FFF2-40B4-BE49-F238E27FC236}">
                  <a16:creationId xmlns="" xmlns:a16="http://schemas.microsoft.com/office/drawing/2014/main" id="{96483E4A-3D12-1335-D151-3C81125044F6}"/>
                </a:ext>
              </a:extLst>
            </p:cNvPr>
            <p:cNvSpPr txBox="1"/>
            <p:nvPr/>
          </p:nvSpPr>
          <p:spPr>
            <a:xfrm>
              <a:off x="7598675" y="4128309"/>
              <a:ext cx="5486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512</a:t>
              </a:r>
              <a:endParaRPr lang="en-CH" sz="1400" dirty="0"/>
            </a:p>
          </p:txBody>
        </p:sp>
        <p:cxnSp>
          <p:nvCxnSpPr>
            <p:cNvPr id="76" name="Straight Arrow Connector 75">
              <a:extLst>
                <a:ext uri="{FF2B5EF4-FFF2-40B4-BE49-F238E27FC236}">
                  <a16:creationId xmlns="" xmlns:a16="http://schemas.microsoft.com/office/drawing/2014/main" id="{6068C7B4-FB3E-5B24-F1F1-53673ACE3BEF}"/>
                </a:ext>
              </a:extLst>
            </p:cNvPr>
            <p:cNvCxnSpPr>
              <a:cxnSpLocks/>
            </p:cNvCxnSpPr>
            <p:nvPr/>
          </p:nvCxnSpPr>
          <p:spPr>
            <a:xfrm>
              <a:off x="7591642" y="4139642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Box 78">
              <a:extLst>
                <a:ext uri="{FF2B5EF4-FFF2-40B4-BE49-F238E27FC236}">
                  <a16:creationId xmlns="" xmlns:a16="http://schemas.microsoft.com/office/drawing/2014/main" id="{DA40EAD0-158A-4D07-4232-DAFA2205AD8B}"/>
                </a:ext>
              </a:extLst>
            </p:cNvPr>
            <p:cNvSpPr txBox="1"/>
            <p:nvPr/>
          </p:nvSpPr>
          <p:spPr>
            <a:xfrm>
              <a:off x="7362252" y="3828327"/>
              <a:ext cx="45878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dirty="0"/>
                <a:t>BN</a:t>
              </a:r>
              <a:endParaRPr lang="en-CH" dirty="0"/>
            </a:p>
          </p:txBody>
        </p:sp>
        <p:sp>
          <p:nvSpPr>
            <p:cNvPr id="89" name="TextBox 88">
              <a:extLst>
                <a:ext uri="{FF2B5EF4-FFF2-40B4-BE49-F238E27FC236}">
                  <a16:creationId xmlns="" xmlns:a16="http://schemas.microsoft.com/office/drawing/2014/main" id="{B6715932-18ED-474F-5208-186618337BAE}"/>
                </a:ext>
              </a:extLst>
            </p:cNvPr>
            <p:cNvSpPr txBox="1"/>
            <p:nvPr/>
          </p:nvSpPr>
          <p:spPr>
            <a:xfrm>
              <a:off x="7688357" y="5574495"/>
              <a:ext cx="37631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6</a:t>
              </a:r>
              <a:endParaRPr lang="en-CH" sz="1400" dirty="0"/>
            </a:p>
          </p:txBody>
        </p:sp>
        <p:sp>
          <p:nvSpPr>
            <p:cNvPr id="94" name="TextBox 93">
              <a:extLst>
                <a:ext uri="{FF2B5EF4-FFF2-40B4-BE49-F238E27FC236}">
                  <a16:creationId xmlns="" xmlns:a16="http://schemas.microsoft.com/office/drawing/2014/main" id="{9BC3C67E-D2BF-D74B-392C-33530CDC958A}"/>
                </a:ext>
              </a:extLst>
            </p:cNvPr>
            <p:cNvSpPr txBox="1"/>
            <p:nvPr/>
          </p:nvSpPr>
          <p:spPr>
            <a:xfrm>
              <a:off x="5807458" y="200527"/>
              <a:ext cx="452739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b="1" dirty="0"/>
                <a:t>Round </a:t>
              </a:r>
              <a:r>
                <a:rPr lang="fr-CH" b="1" dirty="0" err="1"/>
                <a:t>masks</a:t>
              </a:r>
              <a:r>
                <a:rPr lang="fr-CH" b="1" dirty="0"/>
                <a:t> and perms (26,213,447 params)</a:t>
              </a:r>
              <a:endParaRPr lang="en-CH" b="1" dirty="0"/>
            </a:p>
          </p:txBody>
        </p:sp>
        <p:sp>
          <p:nvSpPr>
            <p:cNvPr id="6" name="TextBox 5">
              <a:extLst>
                <a:ext uri="{FF2B5EF4-FFF2-40B4-BE49-F238E27FC236}">
                  <a16:creationId xmlns="" xmlns:a16="http://schemas.microsoft.com/office/drawing/2014/main" id="{CAB28A18-CAB2-0C01-B5AE-F4E7DB249523}"/>
                </a:ext>
              </a:extLst>
            </p:cNvPr>
            <p:cNvSpPr txBox="1"/>
            <p:nvPr/>
          </p:nvSpPr>
          <p:spPr>
            <a:xfrm>
              <a:off x="10125981" y="2834263"/>
              <a:ext cx="5486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512</a:t>
              </a:r>
              <a:endParaRPr lang="en-CH" sz="1400" dirty="0"/>
            </a:p>
          </p:txBody>
        </p:sp>
        <p:sp>
          <p:nvSpPr>
            <p:cNvPr id="8" name="TextBox 7">
              <a:extLst>
                <a:ext uri="{FF2B5EF4-FFF2-40B4-BE49-F238E27FC236}">
                  <a16:creationId xmlns="" xmlns:a16="http://schemas.microsoft.com/office/drawing/2014/main" id="{D8EEBD37-2F76-797A-C4A7-7E2896E827B2}"/>
                </a:ext>
              </a:extLst>
            </p:cNvPr>
            <p:cNvSpPr txBox="1"/>
            <p:nvPr/>
          </p:nvSpPr>
          <p:spPr>
            <a:xfrm>
              <a:off x="10212146" y="4899744"/>
              <a:ext cx="37631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6</a:t>
              </a:r>
              <a:endParaRPr lang="en-CH" sz="1400" dirty="0"/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="" xmlns:a16="http://schemas.microsoft.com/office/drawing/2014/main" id="{74519BA2-144B-C3E1-9BB2-DED20FA734C7}"/>
                </a:ext>
              </a:extLst>
            </p:cNvPr>
            <p:cNvCxnSpPr>
              <a:cxnSpLocks/>
            </p:cNvCxnSpPr>
            <p:nvPr/>
          </p:nvCxnSpPr>
          <p:spPr>
            <a:xfrm>
              <a:off x="10118948" y="2853345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>
              <a:extLst>
                <a:ext uri="{FF2B5EF4-FFF2-40B4-BE49-F238E27FC236}">
                  <a16:creationId xmlns="" xmlns:a16="http://schemas.microsoft.com/office/drawing/2014/main" id="{7B365049-3856-DD39-99DD-2B721A3A24EF}"/>
                </a:ext>
              </a:extLst>
            </p:cNvPr>
            <p:cNvCxnSpPr>
              <a:cxnSpLocks/>
            </p:cNvCxnSpPr>
            <p:nvPr/>
          </p:nvCxnSpPr>
          <p:spPr>
            <a:xfrm>
              <a:off x="10118948" y="4913709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="" xmlns:a16="http://schemas.microsoft.com/office/drawing/2014/main" id="{9BA933BD-A7A9-1598-D343-33AEB0B6D394}"/>
                </a:ext>
              </a:extLst>
            </p:cNvPr>
            <p:cNvSpPr txBox="1"/>
            <p:nvPr/>
          </p:nvSpPr>
          <p:spPr>
            <a:xfrm>
              <a:off x="9642952" y="5193555"/>
              <a:ext cx="951992" cy="369332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Softmax</a:t>
              </a:r>
              <a:endParaRPr lang="en-CH" dirty="0"/>
            </a:p>
          </p:txBody>
        </p:sp>
        <p:cxnSp>
          <p:nvCxnSpPr>
            <p:cNvPr id="14" name="Straight Arrow Connector 13">
              <a:extLst>
                <a:ext uri="{FF2B5EF4-FFF2-40B4-BE49-F238E27FC236}">
                  <a16:creationId xmlns="" xmlns:a16="http://schemas.microsoft.com/office/drawing/2014/main" id="{E56C1ED5-0968-57FC-E5E2-63364AA0E791}"/>
                </a:ext>
              </a:extLst>
            </p:cNvPr>
            <p:cNvCxnSpPr>
              <a:cxnSpLocks/>
            </p:cNvCxnSpPr>
            <p:nvPr/>
          </p:nvCxnSpPr>
          <p:spPr>
            <a:xfrm>
              <a:off x="10118948" y="5579556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="" xmlns:a16="http://schemas.microsoft.com/office/drawing/2014/main" id="{6C9CA1DA-1F11-3923-1C2C-C436D5D584C2}"/>
                </a:ext>
              </a:extLst>
            </p:cNvPr>
            <p:cNvSpPr txBox="1"/>
            <p:nvPr/>
          </p:nvSpPr>
          <p:spPr>
            <a:xfrm>
              <a:off x="10122464" y="3544765"/>
              <a:ext cx="5486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512</a:t>
              </a:r>
              <a:endParaRPr lang="en-CH" sz="1400" dirty="0"/>
            </a:p>
          </p:txBody>
        </p:sp>
        <p:cxnSp>
          <p:nvCxnSpPr>
            <p:cNvPr id="16" name="Straight Arrow Connector 15">
              <a:extLst>
                <a:ext uri="{FF2B5EF4-FFF2-40B4-BE49-F238E27FC236}">
                  <a16:creationId xmlns="" xmlns:a16="http://schemas.microsoft.com/office/drawing/2014/main" id="{0A13E7A9-DDE7-C326-8FC5-F38729D0F26C}"/>
                </a:ext>
              </a:extLst>
            </p:cNvPr>
            <p:cNvCxnSpPr>
              <a:cxnSpLocks/>
            </p:cNvCxnSpPr>
            <p:nvPr/>
          </p:nvCxnSpPr>
          <p:spPr>
            <a:xfrm>
              <a:off x="10115431" y="3563847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="" xmlns:a16="http://schemas.microsoft.com/office/drawing/2014/main" id="{58798B16-87F3-4829-7C17-EDD615EFAC11}"/>
                </a:ext>
              </a:extLst>
            </p:cNvPr>
            <p:cNvSpPr txBox="1"/>
            <p:nvPr/>
          </p:nvSpPr>
          <p:spPr>
            <a:xfrm>
              <a:off x="9793195" y="3147372"/>
              <a:ext cx="661400" cy="369332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ReLU</a:t>
              </a:r>
              <a:endParaRPr lang="en-CH" dirty="0"/>
            </a:p>
          </p:txBody>
        </p:sp>
        <p:sp>
          <p:nvSpPr>
            <p:cNvPr id="20" name="TextBox 19">
              <a:extLst>
                <a:ext uri="{FF2B5EF4-FFF2-40B4-BE49-F238E27FC236}">
                  <a16:creationId xmlns="" xmlns:a16="http://schemas.microsoft.com/office/drawing/2014/main" id="{D6A9E7D6-5A22-CAC4-6813-0E9D5AC8D705}"/>
                </a:ext>
              </a:extLst>
            </p:cNvPr>
            <p:cNvSpPr txBox="1"/>
            <p:nvPr/>
          </p:nvSpPr>
          <p:spPr>
            <a:xfrm>
              <a:off x="10122464" y="4128309"/>
              <a:ext cx="5486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512</a:t>
              </a:r>
              <a:endParaRPr lang="en-CH" sz="1400" dirty="0"/>
            </a:p>
          </p:txBody>
        </p:sp>
        <p:cxnSp>
          <p:nvCxnSpPr>
            <p:cNvPr id="29" name="Straight Arrow Connector 28">
              <a:extLst>
                <a:ext uri="{FF2B5EF4-FFF2-40B4-BE49-F238E27FC236}">
                  <a16:creationId xmlns="" xmlns:a16="http://schemas.microsoft.com/office/drawing/2014/main" id="{195CCD6B-EBA2-70D7-1F0E-D9BAD7C898BC}"/>
                </a:ext>
              </a:extLst>
            </p:cNvPr>
            <p:cNvCxnSpPr>
              <a:cxnSpLocks/>
            </p:cNvCxnSpPr>
            <p:nvPr/>
          </p:nvCxnSpPr>
          <p:spPr>
            <a:xfrm>
              <a:off x="10115431" y="4139642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>
              <a:extLst>
                <a:ext uri="{FF2B5EF4-FFF2-40B4-BE49-F238E27FC236}">
                  <a16:creationId xmlns="" xmlns:a16="http://schemas.microsoft.com/office/drawing/2014/main" id="{42262F02-A48A-61E6-48E2-20E0D6E766AA}"/>
                </a:ext>
              </a:extLst>
            </p:cNvPr>
            <p:cNvSpPr txBox="1"/>
            <p:nvPr/>
          </p:nvSpPr>
          <p:spPr>
            <a:xfrm>
              <a:off x="9886041" y="3828327"/>
              <a:ext cx="45878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dirty="0"/>
                <a:t>BN</a:t>
              </a:r>
              <a:endParaRPr lang="en-CH" dirty="0"/>
            </a:p>
          </p:txBody>
        </p:sp>
        <p:sp>
          <p:nvSpPr>
            <p:cNvPr id="34" name="TextBox 33">
              <a:extLst>
                <a:ext uri="{FF2B5EF4-FFF2-40B4-BE49-F238E27FC236}">
                  <a16:creationId xmlns="" xmlns:a16="http://schemas.microsoft.com/office/drawing/2014/main" id="{5FEE47FA-322E-6B4D-2704-CFE205457AD6}"/>
                </a:ext>
              </a:extLst>
            </p:cNvPr>
            <p:cNvSpPr txBox="1"/>
            <p:nvPr/>
          </p:nvSpPr>
          <p:spPr>
            <a:xfrm>
              <a:off x="10212146" y="5574495"/>
              <a:ext cx="37631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6</a:t>
              </a:r>
              <a:endParaRPr lang="en-CH" sz="1400" dirty="0"/>
            </a:p>
          </p:txBody>
        </p:sp>
        <p:sp>
          <p:nvSpPr>
            <p:cNvPr id="88" name="TextBox 87">
              <a:extLst>
                <a:ext uri="{FF2B5EF4-FFF2-40B4-BE49-F238E27FC236}">
                  <a16:creationId xmlns="" xmlns:a16="http://schemas.microsoft.com/office/drawing/2014/main" id="{D29F1EDB-7D9C-D7F5-C58A-F96D34EA24BC}"/>
                </a:ext>
              </a:extLst>
            </p:cNvPr>
            <p:cNvSpPr txBox="1"/>
            <p:nvPr/>
          </p:nvSpPr>
          <p:spPr>
            <a:xfrm>
              <a:off x="7196670" y="2481184"/>
              <a:ext cx="802335" cy="369332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="" xmlns:a16="http://schemas.microsoft.com/office/drawing/2014/main" id="{82781DCD-3428-C54B-C5BC-08906483E969}"/>
                </a:ext>
              </a:extLst>
            </p:cNvPr>
            <p:cNvSpPr txBox="1"/>
            <p:nvPr/>
          </p:nvSpPr>
          <p:spPr>
            <a:xfrm>
              <a:off x="9728664" y="2481184"/>
              <a:ext cx="802335" cy="369332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="" xmlns:a16="http://schemas.microsoft.com/office/drawing/2014/main" id="{C3CE84DF-E8A0-14E9-1F33-77DAB99044A8}"/>
                </a:ext>
              </a:extLst>
            </p:cNvPr>
            <p:cNvSpPr txBox="1"/>
            <p:nvPr/>
          </p:nvSpPr>
          <p:spPr>
            <a:xfrm>
              <a:off x="7203872" y="4487798"/>
              <a:ext cx="802335" cy="369332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="" xmlns:a16="http://schemas.microsoft.com/office/drawing/2014/main" id="{BBA13A9C-37AE-43B5-F519-09F5D2E9843C}"/>
                </a:ext>
              </a:extLst>
            </p:cNvPr>
            <p:cNvSpPr txBox="1"/>
            <p:nvPr/>
          </p:nvSpPr>
          <p:spPr>
            <a:xfrm>
              <a:off x="9721296" y="4487798"/>
              <a:ext cx="802335" cy="369332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7" name="TextBox 96">
                  <a:extLst>
                    <a:ext uri="{FF2B5EF4-FFF2-40B4-BE49-F238E27FC236}">
                      <a16:creationId xmlns="" xmlns:a16="http://schemas.microsoft.com/office/drawing/2014/main" id="{D13946CB-A907-49E4-E9D3-39799E334BB7}"/>
                    </a:ext>
                  </a:extLst>
                </p:cNvPr>
                <p:cNvSpPr txBox="1"/>
                <p:nvPr/>
              </p:nvSpPr>
              <p:spPr>
                <a:xfrm>
                  <a:off x="9180000" y="5879809"/>
                  <a:ext cx="1870862" cy="44499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sSub>
                          <m:sSubPr>
                            <m:ctrlPr>
                              <a:rPr lang="fr-CH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CH" b="0" i="1" smtClean="0">
                                <a:latin typeface="Cambria Math" panose="02040503050406030204" pitchFamily="18" charset="0"/>
                              </a:rPr>
                              <m:t>𝑓</m:t>
                            </m:r>
                          </m:e>
                          <m:sub>
                            <m:sSub>
                              <m:sSubPr>
                                <m:ctrlPr>
                                  <a:rPr lang="fr-CH" b="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H" b="0" i="1" smtClean="0">
                                    <a:latin typeface="Cambria Math" panose="02040503050406030204" pitchFamily="18" charset="0"/>
                                  </a:rPr>
                                  <m:t>𝑚</m:t>
                                </m:r>
                              </m:e>
                              <m:sub>
                                <m:r>
                                  <a:rPr lang="fr-CH" b="0" i="1" smtClean="0">
                                    <a:latin typeface="Cambria Math" panose="02040503050406030204" pitchFamily="18" charset="0"/>
                                  </a:rPr>
                                  <m:t>𝑟𝑜𝑢𝑛</m:t>
                                </m:r>
                                <m:sSub>
                                  <m:sSubPr>
                                    <m:ctrlPr>
                                      <a:rPr lang="fr-CH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fr-CH" b="0" i="1" smtClean="0">
                                        <a:latin typeface="Cambria Math" panose="02040503050406030204" pitchFamily="18" charset="0"/>
                                      </a:rPr>
                                      <m:t>𝑑</m:t>
                                    </m:r>
                                  </m:e>
                                  <m:sub>
                                    <m:r>
                                      <a:rPr lang="fr-CH" b="0" i="1" smtClean="0">
                                        <a:latin typeface="Cambria Math" panose="02040503050406030204" pitchFamily="18" charset="0"/>
                                      </a:rPr>
                                      <m:t>6,1</m:t>
                                    </m:r>
                                  </m:sub>
                                </m:sSub>
                              </m:sub>
                            </m:sSub>
                          </m:sub>
                        </m:sSub>
                        <m:d>
                          <m:dPr>
                            <m:ctrlPr>
                              <a:rPr lang="fr-CH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r-CH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∙| </m:t>
                            </m:r>
                            <m:r>
                              <a:rPr lang="fr-CH" b="1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𝒙</m:t>
                            </m:r>
                          </m:e>
                        </m:d>
                      </m:oMath>
                    </m:oMathPara>
                  </a14:m>
                  <a:endParaRPr lang="en-CH" dirty="0"/>
                </a:p>
              </p:txBody>
            </p:sp>
          </mc:Choice>
          <mc:Fallback xmlns="">
            <p:sp>
              <p:nvSpPr>
                <p:cNvPr id="97" name="TextBox 96">
                  <a:extLst>
                    <a:ext uri="{FF2B5EF4-FFF2-40B4-BE49-F238E27FC236}">
                      <a16:creationId xmlns:a16="http://schemas.microsoft.com/office/drawing/2014/main" id="{D13946CB-A907-49E4-E9D3-39799E334BB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180000" y="5879809"/>
                  <a:ext cx="1870862" cy="444994"/>
                </a:xfrm>
                <a:prstGeom prst="rect">
                  <a:avLst/>
                </a:prstGeom>
                <a:blipFill>
                  <a:blip r:embed="rId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CH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98" name="TextBox 97">
              <a:extLst>
                <a:ext uri="{FF2B5EF4-FFF2-40B4-BE49-F238E27FC236}">
                  <a16:creationId xmlns="" xmlns:a16="http://schemas.microsoft.com/office/drawing/2014/main" id="{FF9321B8-B850-B294-610D-7D289AECF975}"/>
                </a:ext>
              </a:extLst>
            </p:cNvPr>
            <p:cNvSpPr txBox="1"/>
            <p:nvPr/>
          </p:nvSpPr>
          <p:spPr>
            <a:xfrm>
              <a:off x="8533098" y="3629170"/>
              <a:ext cx="636713" cy="7694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sz="4400" b="1" dirty="0"/>
                <a:t>···</a:t>
              </a:r>
              <a:endParaRPr lang="en-CH" sz="4400" b="1" dirty="0"/>
            </a:p>
          </p:txBody>
        </p:sp>
        <p:sp>
          <p:nvSpPr>
            <p:cNvPr id="148" name="TextBox 147">
              <a:extLst>
                <a:ext uri="{FF2B5EF4-FFF2-40B4-BE49-F238E27FC236}">
                  <a16:creationId xmlns="" xmlns:a16="http://schemas.microsoft.com/office/drawing/2014/main" id="{1651452B-C62E-CABD-3FC3-FBEF6591BB7D}"/>
                </a:ext>
              </a:extLst>
            </p:cNvPr>
            <p:cNvSpPr txBox="1"/>
            <p:nvPr/>
          </p:nvSpPr>
          <p:spPr>
            <a:xfrm>
              <a:off x="5973243" y="2834263"/>
              <a:ext cx="5486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024</a:t>
              </a:r>
              <a:endParaRPr lang="en-CH" sz="1400" dirty="0"/>
            </a:p>
          </p:txBody>
        </p:sp>
        <p:sp>
          <p:nvSpPr>
            <p:cNvPr id="149" name="TextBox 148">
              <a:extLst>
                <a:ext uri="{FF2B5EF4-FFF2-40B4-BE49-F238E27FC236}">
                  <a16:creationId xmlns="" xmlns:a16="http://schemas.microsoft.com/office/drawing/2014/main" id="{DBAB9D8A-ABD1-C4AF-F0A7-6FD803358840}"/>
                </a:ext>
              </a:extLst>
            </p:cNvPr>
            <p:cNvSpPr txBox="1"/>
            <p:nvPr/>
          </p:nvSpPr>
          <p:spPr>
            <a:xfrm>
              <a:off x="6059408" y="4899744"/>
              <a:ext cx="37631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7</a:t>
              </a:r>
              <a:endParaRPr lang="en-CH" sz="1400" dirty="0"/>
            </a:p>
          </p:txBody>
        </p:sp>
        <p:cxnSp>
          <p:nvCxnSpPr>
            <p:cNvPr id="152" name="Straight Arrow Connector 151">
              <a:extLst>
                <a:ext uri="{FF2B5EF4-FFF2-40B4-BE49-F238E27FC236}">
                  <a16:creationId xmlns="" xmlns:a16="http://schemas.microsoft.com/office/drawing/2014/main" id="{C4ED11DA-03E6-3942-5836-AFAC4B4B1965}"/>
                </a:ext>
              </a:extLst>
            </p:cNvPr>
            <p:cNvCxnSpPr>
              <a:cxnSpLocks/>
            </p:cNvCxnSpPr>
            <p:nvPr/>
          </p:nvCxnSpPr>
          <p:spPr>
            <a:xfrm>
              <a:off x="5966210" y="2853345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Arrow Connector 153">
              <a:extLst>
                <a:ext uri="{FF2B5EF4-FFF2-40B4-BE49-F238E27FC236}">
                  <a16:creationId xmlns="" xmlns:a16="http://schemas.microsoft.com/office/drawing/2014/main" id="{EDF9553E-9B2D-7EFC-72AF-8B66B65FA97F}"/>
                </a:ext>
              </a:extLst>
            </p:cNvPr>
            <p:cNvCxnSpPr>
              <a:cxnSpLocks/>
            </p:cNvCxnSpPr>
            <p:nvPr/>
          </p:nvCxnSpPr>
          <p:spPr>
            <a:xfrm>
              <a:off x="5966210" y="4913709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5" name="TextBox 154">
              <a:extLst>
                <a:ext uri="{FF2B5EF4-FFF2-40B4-BE49-F238E27FC236}">
                  <a16:creationId xmlns="" xmlns:a16="http://schemas.microsoft.com/office/drawing/2014/main" id="{40C82B2F-DDF4-3098-C854-E7F3BE0AFAA8}"/>
                </a:ext>
              </a:extLst>
            </p:cNvPr>
            <p:cNvSpPr txBox="1"/>
            <p:nvPr/>
          </p:nvSpPr>
          <p:spPr>
            <a:xfrm>
              <a:off x="5490214" y="5193555"/>
              <a:ext cx="951992" cy="369332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Softmax</a:t>
              </a:r>
              <a:endParaRPr lang="en-CH" dirty="0"/>
            </a:p>
          </p:txBody>
        </p:sp>
        <p:cxnSp>
          <p:nvCxnSpPr>
            <p:cNvPr id="156" name="Straight Arrow Connector 155">
              <a:extLst>
                <a:ext uri="{FF2B5EF4-FFF2-40B4-BE49-F238E27FC236}">
                  <a16:creationId xmlns="" xmlns:a16="http://schemas.microsoft.com/office/drawing/2014/main" id="{A060479A-53F4-1662-3836-3D99D6405FE2}"/>
                </a:ext>
              </a:extLst>
            </p:cNvPr>
            <p:cNvCxnSpPr>
              <a:cxnSpLocks/>
            </p:cNvCxnSpPr>
            <p:nvPr/>
          </p:nvCxnSpPr>
          <p:spPr>
            <a:xfrm>
              <a:off x="5966210" y="5579556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8" name="TextBox 157">
              <a:extLst>
                <a:ext uri="{FF2B5EF4-FFF2-40B4-BE49-F238E27FC236}">
                  <a16:creationId xmlns="" xmlns:a16="http://schemas.microsoft.com/office/drawing/2014/main" id="{6854BAB2-EBB7-4D2A-0240-83F96F7CA854}"/>
                </a:ext>
              </a:extLst>
            </p:cNvPr>
            <p:cNvSpPr txBox="1"/>
            <p:nvPr/>
          </p:nvSpPr>
          <p:spPr>
            <a:xfrm>
              <a:off x="5969726" y="3544765"/>
              <a:ext cx="5486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024</a:t>
              </a:r>
              <a:endParaRPr lang="en-CH" sz="1400" dirty="0"/>
            </a:p>
          </p:txBody>
        </p:sp>
        <p:cxnSp>
          <p:nvCxnSpPr>
            <p:cNvPr id="160" name="Straight Arrow Connector 159">
              <a:extLst>
                <a:ext uri="{FF2B5EF4-FFF2-40B4-BE49-F238E27FC236}">
                  <a16:creationId xmlns="" xmlns:a16="http://schemas.microsoft.com/office/drawing/2014/main" id="{EBEF522A-0261-7F63-17E7-2C8A6695C3F3}"/>
                </a:ext>
              </a:extLst>
            </p:cNvPr>
            <p:cNvCxnSpPr>
              <a:cxnSpLocks/>
            </p:cNvCxnSpPr>
            <p:nvPr/>
          </p:nvCxnSpPr>
          <p:spPr>
            <a:xfrm>
              <a:off x="5962693" y="3563847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1" name="TextBox 160">
              <a:extLst>
                <a:ext uri="{FF2B5EF4-FFF2-40B4-BE49-F238E27FC236}">
                  <a16:creationId xmlns="" xmlns:a16="http://schemas.microsoft.com/office/drawing/2014/main" id="{23B3C8EC-2A77-13FA-86C0-43697F85E0D0}"/>
                </a:ext>
              </a:extLst>
            </p:cNvPr>
            <p:cNvSpPr txBox="1"/>
            <p:nvPr/>
          </p:nvSpPr>
          <p:spPr>
            <a:xfrm>
              <a:off x="5640457" y="3147372"/>
              <a:ext cx="661400" cy="369332"/>
            </a:xfrm>
            <a:prstGeom prst="rect">
              <a:avLst/>
            </a:prstGeom>
            <a:solidFill>
              <a:srgbClr val="2474AA">
                <a:alpha val="50196"/>
              </a:srgbClr>
            </a:solidFill>
          </p:spPr>
          <p:txBody>
            <a:bodyPr wrap="none" rtlCol="0">
              <a:spAutoFit/>
            </a:bodyPr>
            <a:lstStyle/>
            <a:p>
              <a:r>
                <a:rPr lang="fr-CH" dirty="0" err="1"/>
                <a:t>ReLU</a:t>
              </a:r>
              <a:endParaRPr lang="en-CH" dirty="0"/>
            </a:p>
          </p:txBody>
        </p:sp>
        <p:sp>
          <p:nvSpPr>
            <p:cNvPr id="162" name="TextBox 161">
              <a:extLst>
                <a:ext uri="{FF2B5EF4-FFF2-40B4-BE49-F238E27FC236}">
                  <a16:creationId xmlns="" xmlns:a16="http://schemas.microsoft.com/office/drawing/2014/main" id="{7DC6DCA9-E439-0500-2A0F-5326CE9D97FE}"/>
                </a:ext>
              </a:extLst>
            </p:cNvPr>
            <p:cNvSpPr txBox="1"/>
            <p:nvPr/>
          </p:nvSpPr>
          <p:spPr>
            <a:xfrm>
              <a:off x="5969726" y="4128309"/>
              <a:ext cx="5486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1024</a:t>
              </a:r>
              <a:endParaRPr lang="en-CH" sz="1400" dirty="0"/>
            </a:p>
          </p:txBody>
        </p:sp>
        <p:cxnSp>
          <p:nvCxnSpPr>
            <p:cNvPr id="163" name="Straight Arrow Connector 162">
              <a:extLst>
                <a:ext uri="{FF2B5EF4-FFF2-40B4-BE49-F238E27FC236}">
                  <a16:creationId xmlns="" xmlns:a16="http://schemas.microsoft.com/office/drawing/2014/main" id="{28CD4BEC-3A93-7170-EC10-10BB15B2E487}"/>
                </a:ext>
              </a:extLst>
            </p:cNvPr>
            <p:cNvCxnSpPr>
              <a:cxnSpLocks/>
            </p:cNvCxnSpPr>
            <p:nvPr/>
          </p:nvCxnSpPr>
          <p:spPr>
            <a:xfrm>
              <a:off x="5962693" y="4139642"/>
              <a:ext cx="0" cy="279846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4" name="TextBox 163">
              <a:extLst>
                <a:ext uri="{FF2B5EF4-FFF2-40B4-BE49-F238E27FC236}">
                  <a16:creationId xmlns="" xmlns:a16="http://schemas.microsoft.com/office/drawing/2014/main" id="{75650F67-3F4C-71BE-F2D9-4600139F6402}"/>
                </a:ext>
              </a:extLst>
            </p:cNvPr>
            <p:cNvSpPr txBox="1"/>
            <p:nvPr/>
          </p:nvSpPr>
          <p:spPr>
            <a:xfrm>
              <a:off x="5733303" y="3828327"/>
              <a:ext cx="45878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dirty="0"/>
                <a:t>BN</a:t>
              </a:r>
              <a:endParaRPr lang="en-CH" dirty="0"/>
            </a:p>
          </p:txBody>
        </p:sp>
        <p:sp>
          <p:nvSpPr>
            <p:cNvPr id="165" name="TextBox 164">
              <a:extLst>
                <a:ext uri="{FF2B5EF4-FFF2-40B4-BE49-F238E27FC236}">
                  <a16:creationId xmlns="" xmlns:a16="http://schemas.microsoft.com/office/drawing/2014/main" id="{C1F1C0E3-1D5B-E876-0C1E-5A514662F049}"/>
                </a:ext>
              </a:extLst>
            </p:cNvPr>
            <p:cNvSpPr txBox="1"/>
            <p:nvPr/>
          </p:nvSpPr>
          <p:spPr>
            <a:xfrm>
              <a:off x="6059408" y="5574495"/>
              <a:ext cx="37631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CH" sz="1400" dirty="0"/>
                <a:t>7</a:t>
              </a:r>
              <a:endParaRPr lang="en-CH" sz="1400" dirty="0"/>
            </a:p>
          </p:txBody>
        </p:sp>
        <p:sp>
          <p:nvSpPr>
            <p:cNvPr id="180" name="TextBox 179">
              <a:extLst>
                <a:ext uri="{FF2B5EF4-FFF2-40B4-BE49-F238E27FC236}">
                  <a16:creationId xmlns="" xmlns:a16="http://schemas.microsoft.com/office/drawing/2014/main" id="{3B4AB294-DB9E-4C7C-4A9F-4E01730509CB}"/>
                </a:ext>
              </a:extLst>
            </p:cNvPr>
            <p:cNvSpPr txBox="1"/>
            <p:nvPr/>
          </p:nvSpPr>
          <p:spPr>
            <a:xfrm>
              <a:off x="5567721" y="2481184"/>
              <a:ext cx="802335" cy="369332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p:sp>
          <p:nvSpPr>
            <p:cNvPr id="182" name="TextBox 181">
              <a:extLst>
                <a:ext uri="{FF2B5EF4-FFF2-40B4-BE49-F238E27FC236}">
                  <a16:creationId xmlns="" xmlns:a16="http://schemas.microsoft.com/office/drawing/2014/main" id="{09503259-9F47-0512-3AE6-B37C4221A1B4}"/>
                </a:ext>
              </a:extLst>
            </p:cNvPr>
            <p:cNvSpPr txBox="1"/>
            <p:nvPr/>
          </p:nvSpPr>
          <p:spPr>
            <a:xfrm>
              <a:off x="5574923" y="4487798"/>
              <a:ext cx="802335" cy="369332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fr-CH" dirty="0"/>
                <a:t>Dense</a:t>
              </a:r>
            </a:p>
          </p:txBody>
        </p:sp>
        <p:cxnSp>
          <p:nvCxnSpPr>
            <p:cNvPr id="187" name="Straight Arrow Connector 186">
              <a:extLst>
                <a:ext uri="{FF2B5EF4-FFF2-40B4-BE49-F238E27FC236}">
                  <a16:creationId xmlns="" xmlns:a16="http://schemas.microsoft.com/office/drawing/2014/main" id="{0558EDE1-C498-14C0-1BCF-ED0DCFBA1B5C}"/>
                </a:ext>
              </a:extLst>
            </p:cNvPr>
            <p:cNvCxnSpPr>
              <a:cxnSpLocks/>
              <a:endCxn id="180" idx="0"/>
            </p:cNvCxnSpPr>
            <p:nvPr/>
          </p:nvCxnSpPr>
          <p:spPr>
            <a:xfrm flipH="1">
              <a:off x="5968889" y="2277702"/>
              <a:ext cx="2095089" cy="203482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Arrow Connector 189">
              <a:extLst>
                <a:ext uri="{FF2B5EF4-FFF2-40B4-BE49-F238E27FC236}">
                  <a16:creationId xmlns="" xmlns:a16="http://schemas.microsoft.com/office/drawing/2014/main" id="{F3E96430-B583-B5F3-A7DF-3075F036BD39}"/>
                </a:ext>
              </a:extLst>
            </p:cNvPr>
            <p:cNvCxnSpPr>
              <a:cxnSpLocks/>
              <a:endCxn id="88" idx="0"/>
            </p:cNvCxnSpPr>
            <p:nvPr/>
          </p:nvCxnSpPr>
          <p:spPr>
            <a:xfrm flipH="1">
              <a:off x="7597838" y="2290713"/>
              <a:ext cx="473317" cy="190471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Straight Arrow Connector 191">
              <a:extLst>
                <a:ext uri="{FF2B5EF4-FFF2-40B4-BE49-F238E27FC236}">
                  <a16:creationId xmlns="" xmlns:a16="http://schemas.microsoft.com/office/drawing/2014/main" id="{622E107A-5AE3-E6CF-038F-22030ABB902D}"/>
                </a:ext>
              </a:extLst>
            </p:cNvPr>
            <p:cNvCxnSpPr>
              <a:cxnSpLocks/>
              <a:endCxn id="90" idx="0"/>
            </p:cNvCxnSpPr>
            <p:nvPr/>
          </p:nvCxnSpPr>
          <p:spPr>
            <a:xfrm>
              <a:off x="8078234" y="2277702"/>
              <a:ext cx="2051598" cy="203482"/>
            </a:xfrm>
            <a:prstGeom prst="straightConnector1">
              <a:avLst/>
            </a:prstGeom>
            <a:ln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4" name="TextBox 203">
              <a:extLst>
                <a:ext uri="{FF2B5EF4-FFF2-40B4-BE49-F238E27FC236}">
                  <a16:creationId xmlns="" xmlns:a16="http://schemas.microsoft.com/office/drawing/2014/main" id="{989E6ACB-B60A-C461-F689-8C988D89530B}"/>
                </a:ext>
              </a:extLst>
            </p:cNvPr>
            <p:cNvSpPr txBox="1"/>
            <p:nvPr/>
          </p:nvSpPr>
          <p:spPr>
            <a:xfrm>
              <a:off x="8671952" y="3687685"/>
              <a:ext cx="36740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CH" sz="1400" dirty="0"/>
                <a:t>14</a:t>
              </a:r>
              <a:endParaRPr lang="en-CH" sz="1400" dirty="0"/>
            </a:p>
          </p:txBody>
        </p:sp>
      </p:grp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90EDBA92-2EFA-48F5-3301-BE34A099F6DA}"/>
              </a:ext>
            </a:extLst>
          </p:cNvPr>
          <p:cNvSpPr txBox="1"/>
          <p:nvPr/>
        </p:nvSpPr>
        <p:spPr>
          <a:xfrm>
            <a:off x="4091136" y="6170871"/>
            <a:ext cx="4019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H" dirty="0"/>
              <a:t>Our modular network architectures (</a:t>
            </a:r>
            <a:r>
              <a:rPr lang="fr-CH" dirty="0"/>
              <a:t>2</a:t>
            </a:r>
            <a:r>
              <a:rPr lang="en-CH" dirty="0"/>
              <a:t>/2)</a:t>
            </a:r>
          </a:p>
        </p:txBody>
      </p:sp>
    </p:spTree>
    <p:extLst>
      <p:ext uri="{BB962C8B-B14F-4D97-AF65-F5344CB8AC3E}">
        <p14:creationId xmlns:p14="http://schemas.microsoft.com/office/powerpoint/2010/main" val="20594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Guessing entropie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dirty="0">
                <a:solidFill>
                  <a:schemeClr val="accent3"/>
                </a:solidFill>
              </a:rPr>
              <a:t>PROFILING ATTACKS</a:t>
            </a:r>
            <a:endParaRPr lang="en-US" dirty="0">
              <a:solidFill>
                <a:schemeClr val="accent3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338" y="2437182"/>
            <a:ext cx="5184658" cy="400508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1034" y="2437182"/>
            <a:ext cx="5212090" cy="400508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488584" y="2158899"/>
            <a:ext cx="43077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/>
              <a:t>Templates – without countermeasures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6830490" y="2158899"/>
            <a:ext cx="43077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/>
              <a:t>20 NNs – with countermeasur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25882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="" xmlns:a16="http://schemas.microsoft.com/office/drawing/2014/main" id="{9B6A052D-8A50-38B9-A1D6-ECEFE490EA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A</a:t>
            </a:r>
            <a:r>
              <a:rPr lang="fr-CH" dirty="0"/>
              <a:t>n innovative </a:t>
            </a:r>
            <a:r>
              <a:rPr lang="en-CH" dirty="0"/>
              <a:t>countermeasu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16E2FE2A-FABA-B694-3864-684CCC5273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Two major observations of the Deep Learning attack</a:t>
            </a:r>
          </a:p>
          <a:p>
            <a:pPr lvl="1"/>
            <a:r>
              <a:rPr lang="en-US" dirty="0"/>
              <a:t>Training and inference done on different devices</a:t>
            </a:r>
          </a:p>
          <a:p>
            <a:pPr lvl="1"/>
            <a:r>
              <a:rPr lang="en-US" dirty="0"/>
              <a:t>Too complex without reducing input size and focusing on leaking regions</a:t>
            </a:r>
          </a:p>
          <a:p>
            <a:r>
              <a:rPr lang="en-US" dirty="0"/>
              <a:t>Goal: change data distribution between training and inference phases</a:t>
            </a:r>
          </a:p>
          <a:p>
            <a:r>
              <a:rPr lang="en-US" dirty="0"/>
              <a:t>Inject unpredictable delays</a:t>
            </a: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en-US" dirty="0">
                <a:solidFill>
                  <a:schemeClr val="accent3"/>
                </a:solidFill>
              </a:rPr>
              <a:t>consistent to each device</a:t>
            </a:r>
          </a:p>
          <a:p>
            <a:pPr lvl="1"/>
            <a:r>
              <a:rPr lang="en-US" dirty="0"/>
              <a:t>Harnessing a secret specific to the device</a:t>
            </a:r>
          </a:p>
          <a:p>
            <a:r>
              <a:rPr lang="en-US" dirty="0"/>
              <a:t>Delays also change every time the key changes</a:t>
            </a:r>
          </a:p>
          <a:p>
            <a:pPr lvl="1"/>
            <a:r>
              <a:rPr lang="en-US" dirty="0"/>
              <a:t>Complexify attacker that can directly train on the targe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A256C8C-6C7B-75BA-A2E9-78123262BDC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CH" dirty="0">
                <a:solidFill>
                  <a:schemeClr val="accent2"/>
                </a:solidFill>
              </a:rPr>
              <a:t>DEFENSES</a:t>
            </a:r>
            <a:endParaRPr lang="en-CH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2130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="" xmlns:a16="http://schemas.microsoft.com/office/drawing/2014/main" id="{9B6A052D-8A50-38B9-A1D6-ECEFE490EA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H" dirty="0"/>
              <a:t>Effects on </a:t>
            </a:r>
            <a:r>
              <a:rPr lang="en-GB" dirty="0"/>
              <a:t>leakage regions</a:t>
            </a:r>
            <a:endParaRPr lang="en-CH" dirty="0"/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EA256C8C-6C7B-75BA-A2E9-78123262BDC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CH" dirty="0">
                <a:solidFill>
                  <a:schemeClr val="accent2"/>
                </a:solidFill>
              </a:rPr>
              <a:t>AN INNOVATIVE COUNTERMEASURE</a:t>
            </a:r>
          </a:p>
        </p:txBody>
      </p:sp>
      <p:pic>
        <p:nvPicPr>
          <p:cNvPr id="10" name="Picture 9" descr="A graph with colorful lines&#10;&#10;Description automatically generated">
            <a:extLst>
              <a:ext uri="{FF2B5EF4-FFF2-40B4-BE49-F238E27FC236}">
                <a16:creationId xmlns="" xmlns:a16="http://schemas.microsoft.com/office/drawing/2014/main" id="{DE5D12C5-8275-2283-A4BB-90A4E4CC4A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7725" y="1942442"/>
            <a:ext cx="10496550" cy="428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333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="" xmlns:a16="http://schemas.microsoft.com/office/drawing/2014/main" id="{950C71FA-31D6-E24E-82F0-93559BE56F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ex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DC4B8A9-87F5-3C46-8C8C-5B396166EEC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200" y="1802489"/>
            <a:ext cx="10515600" cy="2186325"/>
          </a:xfrm>
        </p:spPr>
        <p:txBody>
          <a:bodyPr/>
          <a:lstStyle/>
          <a:p>
            <a:r>
              <a:rPr lang="en-US" dirty="0"/>
              <a:t>Cloud services become more popular</a:t>
            </a:r>
          </a:p>
          <a:p>
            <a:pPr lvl="1"/>
            <a:r>
              <a:rPr lang="en-US" dirty="0"/>
              <a:t>Privacy concerns as data is processed unencrypted</a:t>
            </a:r>
          </a:p>
          <a:p>
            <a:r>
              <a:rPr lang="en-US" dirty="0"/>
              <a:t>Idea: process data that stays encrypted</a:t>
            </a:r>
          </a:p>
          <a:p>
            <a:r>
              <a:rPr lang="en-US" dirty="0">
                <a:solidFill>
                  <a:schemeClr val="accent3"/>
                </a:solidFill>
              </a:rPr>
              <a:t>Fully Homomorphic Encryption </a:t>
            </a:r>
            <a:r>
              <a:rPr lang="en-US" dirty="0"/>
              <a:t>[1]:</a:t>
            </a:r>
          </a:p>
          <a:p>
            <a:pPr lvl="1"/>
            <a:r>
              <a:rPr lang="en-US" dirty="0"/>
              <a:t>Confidentiality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EC1D3909-932D-1C4E-9F8F-1E77B13BBB3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>
                <a:extLst>
                  <a:ext uri="{FF2B5EF4-FFF2-40B4-BE49-F238E27FC236}">
                    <a16:creationId xmlns="" xmlns:a16="http://schemas.microsoft.com/office/drawing/2014/main" id="{A76E248C-13AC-E52C-22DA-F93E9F968FE3}"/>
                  </a:ext>
                </a:extLst>
              </p:cNvPr>
              <p:cNvSpPr txBox="1"/>
              <p:nvPr/>
            </p:nvSpPr>
            <p:spPr>
              <a:xfrm>
                <a:off x="1465729" y="3940220"/>
                <a:ext cx="6327591" cy="907346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square" lIns="72000" tIns="72000" rIns="72000" bIns="7200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28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en-GB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r-CH" sz="2800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𝐻𝐸</m:t>
                          </m:r>
                          <m:r>
                            <a:rPr lang="en-GB" sz="2800" i="1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  <m:sSub>
                            <m:sSubPr>
                              <m:ctrlPr>
                                <a:rPr lang="en-GB" sz="2800" i="1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sz="2800" i="1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en-GB" sz="2800" i="1">
                                      <a:solidFill>
                                        <a:schemeClr val="accent3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r-CH" sz="2800" i="1">
                                      <a:solidFill>
                                        <a:schemeClr val="accent3"/>
                                      </a:solidFill>
                                      <a:latin typeface="Cambria Math" panose="02040503050406030204" pitchFamily="18" charset="0"/>
                                    </a:rPr>
                                    <m:t>𝐻</m:t>
                                  </m:r>
                                  <m:r>
                                    <a:rPr lang="en-GB" sz="2800" i="1">
                                      <a:solidFill>
                                        <a:schemeClr val="accent3"/>
                                      </a:solidFill>
                                      <a:latin typeface="Cambria Math" panose="02040503050406030204" pitchFamily="18" charset="0"/>
                                    </a:rPr>
                                    <m:t>𝐾</m:t>
                                  </m:r>
                                </m:e>
                                <m:sub>
                                  <m:r>
                                    <a:rPr lang="en-GB" sz="2800" i="1">
                                      <a:solidFill>
                                        <a:schemeClr val="accent3"/>
                                      </a:solidFill>
                                      <a:latin typeface="Cambria Math" panose="02040503050406030204" pitchFamily="18" charset="0"/>
                                    </a:rPr>
                                    <m:t>𝑝𝑢𝑏</m:t>
                                  </m:r>
                                </m:sub>
                              </m:sSub>
                            </m:sub>
                          </m:sSub>
                          <m:d>
                            <m:dPr>
                              <m:ctrlPr>
                                <a:rPr lang="en-GB" sz="28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fr-CH" sz="2800" i="1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d>
                        </m:e>
                      </m:d>
                      <m:r>
                        <a:rPr lang="en-GB" sz="28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r-CH" sz="2800" b="0" i="1" smtClean="0">
                          <a:solidFill>
                            <a:schemeClr val="accent3"/>
                          </a:solidFill>
                          <a:latin typeface="Cambria Math" panose="02040503050406030204" pitchFamily="18" charset="0"/>
                        </a:rPr>
                        <m:t>𝐻𝐸</m:t>
                      </m:r>
                      <m:r>
                        <a:rPr lang="en-GB" sz="2800" b="0" i="1" smtClean="0">
                          <a:solidFill>
                            <a:schemeClr val="accent3"/>
                          </a:solidFill>
                          <a:latin typeface="Cambria Math" panose="02040503050406030204" pitchFamily="18" charset="0"/>
                        </a:rPr>
                        <m:t>𝑛</m:t>
                      </m:r>
                      <m:sSub>
                        <m:sSubPr>
                          <m:ctrlPr>
                            <a:rPr lang="en-GB" sz="2800" b="0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2800" b="0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sSub>
                            <m:sSubPr>
                              <m:ctrlPr>
                                <a:rPr lang="en-GB" sz="2800" b="0" i="1" smtClean="0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CH" sz="2800" b="0" i="1" smtClean="0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  <m:t>𝐻</m:t>
                              </m:r>
                              <m:r>
                                <a:rPr lang="en-GB" sz="2800" b="0" i="1" smtClean="0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GB" sz="2800" b="0" i="1" smtClean="0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  <m:t>𝑝𝑢𝑏</m:t>
                              </m:r>
                            </m:sub>
                          </m:sSub>
                        </m:sub>
                      </m:sSub>
                      <m:d>
                        <m:dPr>
                          <m:ctrlPr>
                            <a:rPr lang="en-GB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28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  <m:d>
                            <m:dPr>
                              <m:ctrlPr>
                                <a:rPr lang="en-GB" sz="28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GB" sz="2800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d>
                        </m:e>
                      </m:d>
                    </m:oMath>
                  </m:oMathPara>
                </a14:m>
                <a:endParaRPr lang="en-GB" sz="2800" b="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A76E248C-13AC-E52C-22DA-F93E9F968FE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65729" y="3940220"/>
                <a:ext cx="6327591" cy="907346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 Placeholder 2">
            <a:extLst>
              <a:ext uri="{FF2B5EF4-FFF2-40B4-BE49-F238E27FC236}">
                <a16:creationId xmlns="" xmlns:a16="http://schemas.microsoft.com/office/drawing/2014/main" id="{221E8CA4-A193-22BE-7F56-24A637E7D185}"/>
              </a:ext>
            </a:extLst>
          </p:cNvPr>
          <p:cNvSpPr txBox="1">
            <a:spLocks/>
          </p:cNvSpPr>
          <p:nvPr/>
        </p:nvSpPr>
        <p:spPr>
          <a:xfrm>
            <a:off x="838200" y="4946890"/>
            <a:ext cx="10515600" cy="12818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28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b="0" i="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Actual encryption is expensive</a:t>
            </a:r>
          </a:p>
          <a:p>
            <a:pPr lvl="1"/>
            <a:r>
              <a:rPr lang="en-GB" dirty="0"/>
              <a:t>Especially for IoT</a:t>
            </a:r>
          </a:p>
          <a:p>
            <a:r>
              <a:rPr lang="en-US" dirty="0">
                <a:solidFill>
                  <a:srgbClr val="5B6770"/>
                </a:solidFill>
                <a:ea typeface="Cambria" panose="02040503050406030204" pitchFamily="18" charset="0"/>
              </a:rPr>
              <a:t>→ </a:t>
            </a:r>
            <a:r>
              <a:rPr lang="en-US" dirty="0">
                <a:solidFill>
                  <a:schemeClr val="accent3"/>
                </a:solidFill>
                <a:ea typeface="Cambria" panose="02040503050406030204" pitchFamily="18" charset="0"/>
              </a:rPr>
              <a:t>Hybrid Homomorphic Encryption </a:t>
            </a:r>
            <a:r>
              <a:rPr lang="en-US" dirty="0"/>
              <a:t>[2]</a:t>
            </a:r>
            <a:endParaRPr lang="en-US" dirty="0">
              <a:solidFill>
                <a:srgbClr val="5B6770"/>
              </a:solidFill>
              <a:ea typeface="Cambria" panose="02040503050406030204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7847DE01-641B-3953-CF6D-42518484E25A}"/>
              </a:ext>
            </a:extLst>
          </p:cNvPr>
          <p:cNvSpPr txBox="1"/>
          <p:nvPr/>
        </p:nvSpPr>
        <p:spPr>
          <a:xfrm>
            <a:off x="826338" y="6171401"/>
            <a:ext cx="59775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/>
                </a:solidFill>
              </a:rPr>
              <a:t>[1] </a:t>
            </a:r>
            <a:r>
              <a:rPr lang="en-US" sz="1000" dirty="0">
                <a:solidFill>
                  <a:schemeClr val="tx2"/>
                </a:solidFill>
                <a:hlinkClick r:id="rId4"/>
              </a:rPr>
              <a:t>https://www.cs.cmu.edu/~odonnell/hits09/gentry-homomorphic-encryption.pdf</a:t>
            </a:r>
            <a:endParaRPr lang="en-US" sz="1000" dirty="0">
              <a:solidFill>
                <a:schemeClr val="tx2"/>
              </a:solidFill>
            </a:endParaRPr>
          </a:p>
          <a:p>
            <a:r>
              <a:rPr lang="en-US" sz="1000" dirty="0">
                <a:solidFill>
                  <a:schemeClr val="tx2"/>
                </a:solidFill>
              </a:rPr>
              <a:t>[2] </a:t>
            </a:r>
            <a:r>
              <a:rPr lang="en-US" sz="1000" dirty="0">
                <a:solidFill>
                  <a:schemeClr val="tx2"/>
                </a:solidFill>
                <a:hlinkClick r:id="rId5"/>
              </a:rPr>
              <a:t>https://eprint.iacr.org/2011/405.pdf</a:t>
            </a:r>
            <a:endParaRPr lang="en-US" sz="1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7469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164"/>
    </mc:Choice>
    <mc:Fallback xmlns="">
      <p:transition spd="slow" advTm="216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="" xmlns:a16="http://schemas.microsoft.com/office/drawing/2014/main" id="{950C71FA-31D6-E24E-82F0-93559BE56F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964800"/>
            <a:ext cx="7194452" cy="656591"/>
          </a:xfrm>
        </p:spPr>
        <p:txBody>
          <a:bodyPr/>
          <a:lstStyle/>
          <a:p>
            <a:r>
              <a:rPr lang="en-US" dirty="0"/>
              <a:t>Hybrid Homomorphic Encryption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="" xmlns:a16="http://schemas.microsoft.com/office/drawing/2014/main" id="{906A0CD7-1992-4D99-0241-0586C5715EA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28000" y="630000"/>
            <a:ext cx="10515600" cy="201784"/>
          </a:xfrm>
        </p:spPr>
        <p:txBody>
          <a:bodyPr/>
          <a:lstStyle/>
          <a:p>
            <a:r>
              <a:rPr lang="fr-CH" dirty="0"/>
              <a:t>CONTEXT</a:t>
            </a:r>
            <a:endParaRPr lang="en-CH" dirty="0"/>
          </a:p>
        </p:txBody>
      </p:sp>
      <p:pic>
        <p:nvPicPr>
          <p:cNvPr id="8" name="Graphic 7" descr="User with solid fill">
            <a:extLst>
              <a:ext uri="{FF2B5EF4-FFF2-40B4-BE49-F238E27FC236}">
                <a16:creationId xmlns="" xmlns:a16="http://schemas.microsoft.com/office/drawing/2014/main" id="{D7E08ABB-385F-C5CA-39D0-93E090B723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75504" y="2056213"/>
            <a:ext cx="914400" cy="914400"/>
          </a:xfrm>
          <a:prstGeom prst="rect">
            <a:avLst/>
          </a:prstGeom>
        </p:spPr>
      </p:pic>
      <p:pic>
        <p:nvPicPr>
          <p:cNvPr id="12" name="Graphic 11" descr="Database with solid fill">
            <a:extLst>
              <a:ext uri="{FF2B5EF4-FFF2-40B4-BE49-F238E27FC236}">
                <a16:creationId xmlns="" xmlns:a16="http://schemas.microsoft.com/office/drawing/2014/main" id="{804F013E-9331-4290-61CA-EE8C3C453EB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16316" y="2056213"/>
            <a:ext cx="914400" cy="914400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0C4A710F-A2D0-C7DB-38B5-A4FA00398C6E}"/>
              </a:ext>
            </a:extLst>
          </p:cNvPr>
          <p:cNvCxnSpPr>
            <a:cxnSpLocks/>
          </p:cNvCxnSpPr>
          <p:nvPr/>
        </p:nvCxnSpPr>
        <p:spPr>
          <a:xfrm>
            <a:off x="4562588" y="2056213"/>
            <a:ext cx="0" cy="4147639"/>
          </a:xfrm>
          <a:prstGeom prst="line">
            <a:avLst/>
          </a:prstGeom>
          <a:ln w="12700">
            <a:solidFill>
              <a:srgbClr val="4949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="" xmlns:a16="http://schemas.microsoft.com/office/drawing/2014/main" id="{CD34B921-F36D-5667-2A24-F85700D12F68}"/>
              </a:ext>
            </a:extLst>
          </p:cNvPr>
          <p:cNvCxnSpPr>
            <a:cxnSpLocks/>
          </p:cNvCxnSpPr>
          <p:nvPr/>
        </p:nvCxnSpPr>
        <p:spPr>
          <a:xfrm>
            <a:off x="8301600" y="2056212"/>
            <a:ext cx="0" cy="4147640"/>
          </a:xfrm>
          <a:prstGeom prst="line">
            <a:avLst/>
          </a:prstGeom>
          <a:ln w="12700">
            <a:solidFill>
              <a:srgbClr val="4949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45">
            <a:extLst>
              <a:ext uri="{FF2B5EF4-FFF2-40B4-BE49-F238E27FC236}">
                <a16:creationId xmlns="" xmlns:a16="http://schemas.microsoft.com/office/drawing/2014/main" id="{20FCFC4E-B683-35FD-09D1-2339979013F8}"/>
              </a:ext>
            </a:extLst>
          </p:cNvPr>
          <p:cNvGrpSpPr/>
          <p:nvPr/>
        </p:nvGrpSpPr>
        <p:grpSpPr>
          <a:xfrm>
            <a:off x="4453758" y="3968800"/>
            <a:ext cx="4055015" cy="426404"/>
            <a:chOff x="4880633" y="3815697"/>
            <a:chExt cx="4055015" cy="426404"/>
          </a:xfrm>
        </p:grpSpPr>
        <p:cxnSp>
          <p:nvCxnSpPr>
            <p:cNvPr id="23" name="Straight Arrow Connector 22">
              <a:extLst>
                <a:ext uri="{FF2B5EF4-FFF2-40B4-BE49-F238E27FC236}">
                  <a16:creationId xmlns="" xmlns:a16="http://schemas.microsoft.com/office/drawing/2014/main" id="{767EA9DA-8AB9-44D2-F30B-3A7A9B48FFB3}"/>
                </a:ext>
              </a:extLst>
            </p:cNvPr>
            <p:cNvCxnSpPr/>
            <p:nvPr/>
          </p:nvCxnSpPr>
          <p:spPr>
            <a:xfrm>
              <a:off x="4880633" y="4242101"/>
              <a:ext cx="4055015" cy="0"/>
            </a:xfrm>
            <a:prstGeom prst="straightConnector1">
              <a:avLst/>
            </a:prstGeom>
            <a:ln w="12700">
              <a:solidFill>
                <a:schemeClr val="tx2"/>
              </a:solidFill>
              <a:prstDash val="lg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5" name="TextBox 24">
                  <a:extLst>
                    <a:ext uri="{FF2B5EF4-FFF2-40B4-BE49-F238E27FC236}">
                      <a16:creationId xmlns="" xmlns:a16="http://schemas.microsoft.com/office/drawing/2014/main" id="{03C73148-D670-2D36-6D5D-01F07B9811F3}"/>
                    </a:ext>
                  </a:extLst>
                </p:cNvPr>
                <p:cNvSpPr txBox="1"/>
                <p:nvPr/>
              </p:nvSpPr>
              <p:spPr>
                <a:xfrm>
                  <a:off x="6500963" y="3815697"/>
                  <a:ext cx="435504" cy="369332"/>
                </a:xfrm>
                <a:prstGeom prst="rect">
                  <a:avLst/>
                </a:prstGeom>
                <a:noFill/>
                <a:ln w="12700">
                  <a:solidFill>
                    <a:schemeClr val="accent2"/>
                  </a:solidFill>
                </a:ln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fr-CH" i="1" dirty="0" smtClean="0">
                            <a:latin typeface="Cambria Math" panose="02040503050406030204" pitchFamily="18" charset="0"/>
                          </a:rPr>
                          <m:t>𝑚</m:t>
                        </m:r>
                      </m:oMath>
                    </m:oMathPara>
                  </a14:m>
                  <a:endParaRPr lang="en-CH" dirty="0"/>
                </a:p>
              </p:txBody>
            </p:sp>
          </mc:Choice>
          <mc:Fallback xmlns="">
            <p:sp>
              <p:nvSpPr>
                <p:cNvPr id="25" name="TextBox 24">
                  <a:extLst>
                    <a:ext uri="{FF2B5EF4-FFF2-40B4-BE49-F238E27FC236}">
                      <a16:creationId xmlns:a16="http://schemas.microsoft.com/office/drawing/2014/main" id="{03C73148-D670-2D36-6D5D-01F07B9811F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500963" y="3815697"/>
                  <a:ext cx="435504" cy="369332"/>
                </a:xfrm>
                <a:prstGeom prst="rect">
                  <a:avLst/>
                </a:prstGeom>
                <a:blipFill>
                  <a:blip r:embed="rId7"/>
                  <a:stretch>
                    <a:fillRect/>
                  </a:stretch>
                </a:blipFill>
                <a:ln w="12700">
                  <a:solidFill>
                    <a:schemeClr val="accent2"/>
                  </a:solidFill>
                </a:ln>
              </p:spPr>
              <p:txBody>
                <a:bodyPr/>
                <a:lstStyle/>
                <a:p>
                  <a:r>
                    <a:rPr lang="en-CH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6" name="TextBox 25">
                  <a:extLst>
                    <a:ext uri="{FF2B5EF4-FFF2-40B4-BE49-F238E27FC236}">
                      <a16:creationId xmlns="" xmlns:a16="http://schemas.microsoft.com/office/drawing/2014/main" id="{5667A943-58BA-2E1E-D55A-033C0DBA63E0}"/>
                    </a:ext>
                  </a:extLst>
                </p:cNvPr>
                <p:cNvSpPr txBox="1"/>
                <p:nvPr/>
              </p:nvSpPr>
              <p:spPr>
                <a:xfrm>
                  <a:off x="6863936" y="3819473"/>
                  <a:ext cx="428643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fr-CH" dirty="0"/>
                    <a:t>, </a:t>
                  </a:r>
                  <a14:m>
                    <m:oMath xmlns:m="http://schemas.openxmlformats.org/officeDocument/2006/math">
                      <m:r>
                        <a:rPr lang="fr-CH" i="1" dirty="0" smtClean="0">
                          <a:latin typeface="Cambria Math" panose="02040503050406030204" pitchFamily="18" charset="0"/>
                        </a:rPr>
                        <m:t>𝑓</m:t>
                      </m:r>
                    </m:oMath>
                  </a14:m>
                  <a:endParaRPr lang="en-CH" dirty="0"/>
                </a:p>
              </p:txBody>
            </p:sp>
          </mc:Choice>
          <mc:Fallback xmlns=""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5667A943-58BA-2E1E-D55A-033C0DBA63E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863936" y="3819473"/>
                  <a:ext cx="428643" cy="369332"/>
                </a:xfrm>
                <a:prstGeom prst="rect">
                  <a:avLst/>
                </a:prstGeom>
                <a:blipFill>
                  <a:blip r:embed="rId8"/>
                  <a:stretch>
                    <a:fillRect l="-12857" t="-10000" r="-2857" b="-26667"/>
                  </a:stretch>
                </a:blipFill>
              </p:spPr>
              <p:txBody>
                <a:bodyPr/>
                <a:lstStyle/>
                <a:p>
                  <a:r>
                    <a:rPr lang="en-CH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62" name="Group 61">
            <a:extLst>
              <a:ext uri="{FF2B5EF4-FFF2-40B4-BE49-F238E27FC236}">
                <a16:creationId xmlns="" xmlns:a16="http://schemas.microsoft.com/office/drawing/2014/main" id="{B93625C5-B7B2-98EC-0BA1-C9C888F0D2D3}"/>
              </a:ext>
            </a:extLst>
          </p:cNvPr>
          <p:cNvGrpSpPr/>
          <p:nvPr/>
        </p:nvGrpSpPr>
        <p:grpSpPr>
          <a:xfrm>
            <a:off x="4453758" y="5445877"/>
            <a:ext cx="4055015" cy="426405"/>
            <a:chOff x="1459253" y="4248262"/>
            <a:chExt cx="4055015" cy="426405"/>
          </a:xfrm>
        </p:grpSpPr>
        <p:cxnSp>
          <p:nvCxnSpPr>
            <p:cNvPr id="24" name="Straight Arrow Connector 23">
              <a:extLst>
                <a:ext uri="{FF2B5EF4-FFF2-40B4-BE49-F238E27FC236}">
                  <a16:creationId xmlns="" xmlns:a16="http://schemas.microsoft.com/office/drawing/2014/main" id="{EDF68DB4-3A43-76A8-294D-8226982647EE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1459253" y="4674667"/>
              <a:ext cx="4055015" cy="0"/>
            </a:xfrm>
            <a:prstGeom prst="straightConnector1">
              <a:avLst/>
            </a:prstGeom>
            <a:ln w="12700">
              <a:solidFill>
                <a:schemeClr val="tx2"/>
              </a:solidFill>
              <a:prstDash val="lg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8" name="TextBox 27">
                  <a:extLst>
                    <a:ext uri="{FF2B5EF4-FFF2-40B4-BE49-F238E27FC236}">
                      <a16:creationId xmlns="" xmlns:a16="http://schemas.microsoft.com/office/drawing/2014/main" id="{145CA382-591C-6073-1839-022C5AE1C150}"/>
                    </a:ext>
                  </a:extLst>
                </p:cNvPr>
                <p:cNvSpPr txBox="1"/>
                <p:nvPr/>
              </p:nvSpPr>
              <p:spPr>
                <a:xfrm>
                  <a:off x="3056509" y="4248262"/>
                  <a:ext cx="760465" cy="369332"/>
                </a:xfrm>
                <a:prstGeom prst="rect">
                  <a:avLst/>
                </a:prstGeom>
                <a:noFill/>
                <a:ln w="38100">
                  <a:solidFill>
                    <a:schemeClr val="accent3"/>
                  </a:solidFill>
                </a:ln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fr-CH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  <m:d>
                          <m:dPr>
                            <m:ctrlPr>
                              <a:rPr lang="fr-CH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r-CH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</m:d>
                      </m:oMath>
                    </m:oMathPara>
                  </a14:m>
                  <a:endParaRPr lang="en-CH" dirty="0"/>
                </a:p>
              </p:txBody>
            </p:sp>
          </mc:Choice>
          <mc:Fallback xmlns="">
            <p:sp>
              <p:nvSpPr>
                <p:cNvPr id="28" name="TextBox 27">
                  <a:extLst>
                    <a:ext uri="{FF2B5EF4-FFF2-40B4-BE49-F238E27FC236}">
                      <a16:creationId xmlns:a16="http://schemas.microsoft.com/office/drawing/2014/main" id="{145CA382-591C-6073-1839-022C5AE1C15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056509" y="4248262"/>
                  <a:ext cx="760465" cy="369332"/>
                </a:xfrm>
                <a:prstGeom prst="rect">
                  <a:avLst/>
                </a:prstGeom>
                <a:blipFill>
                  <a:blip r:embed="rId9"/>
                  <a:stretch>
                    <a:fillRect b="-7463"/>
                  </a:stretch>
                </a:blipFill>
                <a:ln w="38100">
                  <a:solidFill>
                    <a:schemeClr val="accent3"/>
                  </a:solidFill>
                </a:ln>
              </p:spPr>
              <p:txBody>
                <a:bodyPr/>
                <a:lstStyle/>
                <a:p>
                  <a:r>
                    <a:rPr lang="en-CH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60" name="TextBox 59">
                <a:extLst>
                  <a:ext uri="{FF2B5EF4-FFF2-40B4-BE49-F238E27FC236}">
                    <a16:creationId xmlns="" xmlns:a16="http://schemas.microsoft.com/office/drawing/2014/main" id="{B9775471-4B89-5431-3882-297DB555A703}"/>
                  </a:ext>
                </a:extLst>
              </p:cNvPr>
              <p:cNvSpPr txBox="1"/>
              <p:nvPr/>
            </p:nvSpPr>
            <p:spPr>
              <a:xfrm>
                <a:off x="2510588" y="2953783"/>
                <a:ext cx="2052000" cy="390748"/>
              </a:xfrm>
              <a:prstGeom prst="rect">
                <a:avLst/>
              </a:prstGeom>
              <a:noFill/>
              <a:ln w="38100"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CH" b="0" i="1" smtClean="0">
                          <a:solidFill>
                            <a:schemeClr val="accent2"/>
                          </a:solidFill>
                          <a:latin typeface="Cambria Math" panose="02040503050406030204" pitchFamily="18" charset="0"/>
                        </a:rPr>
                        <m:t>𝑆𝐾</m:t>
                      </m:r>
                      <m:r>
                        <a:rPr lang="fr-CH" b="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r-CH" b="0" i="1" smtClean="0">
                          <a:solidFill>
                            <a:schemeClr val="accent3"/>
                          </a:solidFill>
                          <a:latin typeface="Cambria Math" panose="02040503050406030204" pitchFamily="18" charset="0"/>
                        </a:rPr>
                        <m:t>𝐻</m:t>
                      </m:r>
                      <m:sSub>
                        <m:sSubPr>
                          <m:ctrlPr>
                            <a:rPr lang="fr-CH" b="0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CH" b="0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fr-CH" b="0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𝑝𝑢𝑏</m:t>
                          </m:r>
                        </m:sub>
                      </m:sSub>
                      <m:r>
                        <a:rPr lang="fr-CH" b="0" i="1" smtClean="0">
                          <a:solidFill>
                            <a:schemeClr val="tx2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r>
                        <a:rPr lang="fr-CH" b="0" i="1" smtClean="0">
                          <a:solidFill>
                            <a:schemeClr val="accent3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fr-CH" b="0" i="1" smtClean="0">
                          <a:solidFill>
                            <a:schemeClr val="accent3"/>
                          </a:solidFill>
                          <a:latin typeface="Cambria Math" panose="02040503050406030204" pitchFamily="18" charset="0"/>
                        </a:rPr>
                        <m:t>𝐻</m:t>
                      </m:r>
                      <m:sSub>
                        <m:sSubPr>
                          <m:ctrlPr>
                            <a:rPr lang="fr-CH" b="0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CH" b="0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fr-CH" b="0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𝑝𝑟𝑖𝑣</m:t>
                          </m:r>
                        </m:sub>
                      </m:sSub>
                    </m:oMath>
                  </m:oMathPara>
                </a14:m>
                <a:endParaRPr lang="fr-CH" b="0" dirty="0">
                  <a:solidFill>
                    <a:schemeClr val="accent3"/>
                  </a:solidFill>
                </a:endParaRPr>
              </a:p>
            </p:txBody>
          </p:sp>
        </mc:Choice>
        <mc:Fallback xmlns=""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B9775471-4B89-5431-3882-297DB555A70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10588" y="2953783"/>
                <a:ext cx="2052000" cy="390748"/>
              </a:xfrm>
              <a:prstGeom prst="rect">
                <a:avLst/>
              </a:prstGeom>
              <a:blipFill>
                <a:blip r:embed="rId10"/>
                <a:stretch>
                  <a:fillRect b="-7813"/>
                </a:stretch>
              </a:blipFill>
              <a:ln w="38100">
                <a:noFill/>
              </a:ln>
            </p:spPr>
            <p:txBody>
              <a:bodyPr/>
              <a:lstStyle/>
              <a:p>
                <a:r>
                  <a:rPr lang="en-CH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2" name="Group 31">
            <a:extLst>
              <a:ext uri="{FF2B5EF4-FFF2-40B4-BE49-F238E27FC236}">
                <a16:creationId xmlns="" xmlns:a16="http://schemas.microsoft.com/office/drawing/2014/main" id="{4AD2071D-9E0E-29CA-1D12-2039DB437D83}"/>
              </a:ext>
            </a:extLst>
          </p:cNvPr>
          <p:cNvGrpSpPr/>
          <p:nvPr/>
        </p:nvGrpSpPr>
        <p:grpSpPr>
          <a:xfrm>
            <a:off x="1512000" y="5929355"/>
            <a:ext cx="3052694" cy="423834"/>
            <a:chOff x="1938875" y="5117209"/>
            <a:chExt cx="3052694" cy="423834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59" name="TextBox 58">
                  <a:extLst>
                    <a:ext uri="{FF2B5EF4-FFF2-40B4-BE49-F238E27FC236}">
                      <a16:creationId xmlns="" xmlns:a16="http://schemas.microsoft.com/office/drawing/2014/main" id="{A7D56B56-A4B5-3E12-5628-FD8ED8123C10}"/>
                    </a:ext>
                  </a:extLst>
                </p:cNvPr>
                <p:cNvSpPr txBox="1"/>
                <p:nvPr/>
              </p:nvSpPr>
              <p:spPr>
                <a:xfrm>
                  <a:off x="1938875" y="5117209"/>
                  <a:ext cx="3052694" cy="423834"/>
                </a:xfrm>
                <a:prstGeom prst="rect">
                  <a:avLst/>
                </a:prstGeom>
                <a:noFill/>
                <a:ln w="38100">
                  <a:noFill/>
                </a:ln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fr-CH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  <m:d>
                          <m:dPr>
                            <m:ctrlPr>
                              <a:rPr lang="fr-CH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r-CH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</m:d>
                        <m:r>
                          <a:rPr lang="fr-CH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fr-CH" b="0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𝐻𝐷𝑒</m:t>
                        </m:r>
                        <m:sSub>
                          <m:sSubPr>
                            <m:ctrlPr>
                              <a:rPr lang="fr-CH" b="0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CH" b="0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𝑐</m:t>
                            </m:r>
                          </m:e>
                          <m:sub>
                            <m:r>
                              <a:rPr lang="fr-CH" b="0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𝐻</m:t>
                            </m:r>
                            <m:sSub>
                              <m:sSubPr>
                                <m:ctrlPr>
                                  <a:rPr lang="fr-CH" b="0" i="1" smtClean="0">
                                    <a:solidFill>
                                      <a:schemeClr val="accent3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fr-CH" b="0" i="1" smtClean="0">
                                    <a:solidFill>
                                      <a:schemeClr val="accent3"/>
                                    </a:solidFill>
                                    <a:latin typeface="Cambria Math" panose="02040503050406030204" pitchFamily="18" charset="0"/>
                                  </a:rPr>
                                  <m:t>𝐾</m:t>
                                </m:r>
                              </m:e>
                              <m:sub>
                                <m:r>
                                  <a:rPr lang="fr-CH" b="0" i="1" smtClean="0">
                                    <a:solidFill>
                                      <a:schemeClr val="accent3"/>
                                    </a:solidFill>
                                    <a:latin typeface="Cambria Math" panose="02040503050406030204" pitchFamily="18" charset="0"/>
                                  </a:rPr>
                                  <m:t>𝑝𝑟𝑖𝑣</m:t>
                                </m:r>
                              </m:sub>
                            </m:sSub>
                          </m:sub>
                        </m:sSub>
                        <m:r>
                          <a:rPr lang="fr-CH" b="0" i="1" smtClean="0">
                            <a:latin typeface="Cambria Math" panose="02040503050406030204" pitchFamily="18" charset="0"/>
                          </a:rPr>
                          <m:t>( </m:t>
                        </m:r>
                        <m:r>
                          <a:rPr lang="fr-CH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  <m:d>
                          <m:dPr>
                            <m:ctrlPr>
                              <a:rPr lang="fr-CH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r-CH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</m:d>
                        <m:r>
                          <a:rPr lang="fr-CH" b="0" i="1" smtClean="0">
                            <a:latin typeface="Cambria Math" panose="02040503050406030204" pitchFamily="18" charset="0"/>
                          </a:rPr>
                          <m:t> )</m:t>
                        </m:r>
                      </m:oMath>
                    </m:oMathPara>
                  </a14:m>
                  <a:endParaRPr lang="en-CH" dirty="0"/>
                </a:p>
              </p:txBody>
            </p:sp>
          </mc:Choice>
          <mc:Fallback xmlns="">
            <p:sp>
              <p:nvSpPr>
                <p:cNvPr id="59" name="TextBox 58">
                  <a:extLst>
                    <a:ext uri="{FF2B5EF4-FFF2-40B4-BE49-F238E27FC236}">
                      <a16:creationId xmlns:a16="http://schemas.microsoft.com/office/drawing/2014/main" id="{A7D56B56-A4B5-3E12-5628-FD8ED8123C1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938875" y="5117209"/>
                  <a:ext cx="3052694" cy="423834"/>
                </a:xfrm>
                <a:prstGeom prst="rect">
                  <a:avLst/>
                </a:prstGeom>
                <a:blipFill>
                  <a:blip r:embed="rId11"/>
                  <a:stretch>
                    <a:fillRect b="-7246"/>
                  </a:stretch>
                </a:blipFill>
                <a:ln w="38100">
                  <a:noFill/>
                </a:ln>
              </p:spPr>
              <p:txBody>
                <a:bodyPr/>
                <a:lstStyle/>
                <a:p>
                  <a:r>
                    <a:rPr lang="en-CH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85" name="Rectangle 84">
              <a:extLst>
                <a:ext uri="{FF2B5EF4-FFF2-40B4-BE49-F238E27FC236}">
                  <a16:creationId xmlns="" xmlns:a16="http://schemas.microsoft.com/office/drawing/2014/main" id="{51F8C54D-ADD8-CB7B-4105-17CB169E577F}"/>
                </a:ext>
              </a:extLst>
            </p:cNvPr>
            <p:cNvSpPr/>
            <p:nvPr/>
          </p:nvSpPr>
          <p:spPr>
            <a:xfrm>
              <a:off x="4140000" y="5173200"/>
              <a:ext cx="576000" cy="288000"/>
            </a:xfrm>
            <a:prstGeom prst="rect">
              <a:avLst/>
            </a:prstGeom>
            <a:noFill/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="" xmlns:a16="http://schemas.microsoft.com/office/drawing/2014/main" id="{B9245657-77D9-AFA3-638F-DC067F510AAB}"/>
                  </a:ext>
                </a:extLst>
              </p:cNvPr>
              <p:cNvSpPr txBox="1"/>
              <p:nvPr/>
            </p:nvSpPr>
            <p:spPr>
              <a:xfrm>
                <a:off x="838800" y="1612800"/>
                <a:ext cx="2618281" cy="97674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r-CH" dirty="0"/>
                  <a:t>Legend:</a:t>
                </a:r>
              </a:p>
              <a:p>
                <a:pPr marL="742950" lvl="1" indent="-285750">
                  <a:buClr>
                    <a:schemeClr val="accent3"/>
                  </a:buClr>
                  <a:buFont typeface="Arial" panose="020B0604020202020204" pitchFamily="34" charset="0"/>
                  <a:buChar char="•"/>
                </a:pPr>
                <a:r>
                  <a:rPr lang="fr-CH" dirty="0"/>
                  <a:t>   :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fr-CH" b="0" i="0" smtClean="0">
                        <a:solidFill>
                          <a:schemeClr val="accent3"/>
                        </a:solidFill>
                        <a:latin typeface="Cambria Math" panose="02040503050406030204" pitchFamily="18" charset="0"/>
                      </a:rPr>
                      <m:t>H</m:t>
                    </m:r>
                    <m:r>
                      <a:rPr lang="en-GB" b="0" i="1" smtClean="0">
                        <a:solidFill>
                          <a:schemeClr val="accent3"/>
                        </a:solidFill>
                        <a:latin typeface="Cambria Math" panose="02040503050406030204" pitchFamily="18" charset="0"/>
                      </a:rPr>
                      <m:t>𝐸𝑛</m:t>
                    </m:r>
                    <m:sSub>
                      <m:sSubPr>
                        <m:ctrlPr>
                          <a:rPr lang="en-GB" b="0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b="0" i="1" smtClean="0">
                            <a:solidFill>
                              <a:schemeClr val="accent3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sSub>
                          <m:sSubPr>
                            <m:ctrlPr>
                              <a:rPr lang="en-GB" b="0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CH" b="0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𝐻</m:t>
                            </m:r>
                            <m:r>
                              <a:rPr lang="en-GB" b="0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𝐾</m:t>
                            </m:r>
                          </m:e>
                          <m:sub>
                            <m:r>
                              <a:rPr lang="en-GB" b="0" i="1" smtClean="0">
                                <a:solidFill>
                                  <a:schemeClr val="accent3"/>
                                </a:solidFill>
                                <a:latin typeface="Cambria Math" panose="02040503050406030204" pitchFamily="18" charset="0"/>
                              </a:rPr>
                              <m:t>𝑝𝑢𝑏</m:t>
                            </m:r>
                          </m:sub>
                        </m:sSub>
                      </m:sub>
                    </m:sSub>
                    <m:d>
                      <m:dPr>
                        <m:ctrlPr>
                          <a:rPr lang="en-GB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fr-CH" b="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</m:d>
                  </m:oMath>
                </a14:m>
                <a:endParaRPr lang="fr-CH" dirty="0"/>
              </a:p>
              <a:p>
                <a:pPr marL="742950" lvl="1" indent="-285750">
                  <a:buClr>
                    <a:schemeClr val="accent3"/>
                  </a:buClr>
                  <a:buFont typeface="Arial" panose="020B0604020202020204" pitchFamily="34" charset="0"/>
                  <a:buChar char="•"/>
                </a:pPr>
                <a:r>
                  <a:rPr lang="fr-CH" dirty="0"/>
                  <a:t>   :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fr-CH" b="0" i="0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</a:rPr>
                      <m:t>S</m:t>
                    </m:r>
                    <m:r>
                      <a:rPr lang="fr-CH" b="0" i="1" smtClean="0">
                        <a:solidFill>
                          <a:schemeClr val="accent2"/>
                        </a:solidFill>
                        <a:latin typeface="Cambria Math" panose="02040503050406030204" pitchFamily="18" charset="0"/>
                      </a:rPr>
                      <m:t>𝐸𝑛</m:t>
                    </m:r>
                    <m:sSub>
                      <m:sSubPr>
                        <m:ctrlPr>
                          <a:rPr lang="fr-CH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fr-CH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e>
                      <m:sub>
                        <m:r>
                          <a:rPr lang="fr-CH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𝑆𝐾</m:t>
                        </m:r>
                      </m:sub>
                    </m:sSub>
                    <m:r>
                      <a:rPr lang="fr-CH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fr-CH" b="0" i="1" smtClean="0">
                        <a:latin typeface="Cambria Math" panose="02040503050406030204" pitchFamily="18" charset="0"/>
                      </a:rPr>
                      <m:t>𝑥</m:t>
                    </m:r>
                    <m:r>
                      <a:rPr lang="fr-CH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fr-CH" dirty="0"/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B9245657-77D9-AFA3-638F-DC067F510AA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8800" y="1612800"/>
                <a:ext cx="2618281" cy="976742"/>
              </a:xfrm>
              <a:prstGeom prst="rect">
                <a:avLst/>
              </a:prstGeom>
              <a:blipFill>
                <a:blip r:embed="rId12"/>
                <a:stretch>
                  <a:fillRect l="-2098" t="-3750" b="-9375"/>
                </a:stretch>
              </a:blipFill>
            </p:spPr>
            <p:txBody>
              <a:bodyPr/>
              <a:lstStyle/>
              <a:p>
                <a:r>
                  <a:rPr lang="en-CH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="" xmlns:a16="http://schemas.microsoft.com/office/drawing/2014/main" id="{5C2B1A03-C501-2139-8E75-30ADF8AD14F2}"/>
                  </a:ext>
                </a:extLst>
              </p:cNvPr>
              <p:cNvSpPr txBox="1"/>
              <p:nvPr/>
            </p:nvSpPr>
            <p:spPr>
              <a:xfrm>
                <a:off x="1512000" y="1943130"/>
                <a:ext cx="277833" cy="291540"/>
              </a:xfrm>
              <a:prstGeom prst="rect">
                <a:avLst/>
              </a:prstGeom>
              <a:noFill/>
              <a:ln w="38100">
                <a:solidFill>
                  <a:schemeClr val="accent3"/>
                </a:solidFill>
              </a:ln>
            </p:spPr>
            <p:txBody>
              <a:bodyPr wrap="none" lIns="46800" tIns="0" rIns="46800" bIns="1440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CH" b="0" i="1" smtClean="0"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en-CH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5C2B1A03-C501-2139-8E75-30ADF8AD14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2000" y="1943130"/>
                <a:ext cx="277833" cy="291540"/>
              </a:xfrm>
              <a:prstGeom prst="rect">
                <a:avLst/>
              </a:prstGeom>
              <a:blipFill>
                <a:blip r:embed="rId13"/>
                <a:stretch>
                  <a:fillRect/>
                </a:stretch>
              </a:blipFill>
              <a:ln w="38100">
                <a:solidFill>
                  <a:schemeClr val="accent3"/>
                </a:solidFill>
              </a:ln>
            </p:spPr>
            <p:txBody>
              <a:bodyPr/>
              <a:lstStyle/>
              <a:p>
                <a:r>
                  <a:rPr lang="en-CH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="" xmlns:a16="http://schemas.microsoft.com/office/drawing/2014/main" id="{880CF3DA-A263-12CC-E955-0859D9EF49DD}"/>
                  </a:ext>
                </a:extLst>
              </p:cNvPr>
              <p:cNvSpPr txBox="1"/>
              <p:nvPr/>
            </p:nvSpPr>
            <p:spPr>
              <a:xfrm>
                <a:off x="1515495" y="2273460"/>
                <a:ext cx="277833" cy="291540"/>
              </a:xfrm>
              <a:prstGeom prst="rect">
                <a:avLst/>
              </a:prstGeom>
              <a:noFill/>
              <a:ln w="12700">
                <a:solidFill>
                  <a:schemeClr val="accent2"/>
                </a:solidFill>
              </a:ln>
            </p:spPr>
            <p:txBody>
              <a:bodyPr wrap="none" lIns="46800" tIns="0" rIns="46800" bIns="1440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CH" b="0" i="1" smtClean="0">
                          <a:latin typeface="Cambria Math" panose="02040503050406030204" pitchFamily="18" charset="0"/>
                        </a:rPr>
                        <m:t>𝑥</m:t>
                      </m:r>
                    </m:oMath>
                  </m:oMathPara>
                </a14:m>
                <a:endParaRPr lang="en-CH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880CF3DA-A263-12CC-E955-0859D9EF49D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15495" y="2273460"/>
                <a:ext cx="277833" cy="291540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  <a:ln w="12700">
                <a:solidFill>
                  <a:schemeClr val="accent2"/>
                </a:solidFill>
              </a:ln>
            </p:spPr>
            <p:txBody>
              <a:bodyPr/>
              <a:lstStyle/>
              <a:p>
                <a:r>
                  <a:rPr lang="en-CH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9" name="Group 8">
            <a:extLst>
              <a:ext uri="{FF2B5EF4-FFF2-40B4-BE49-F238E27FC236}">
                <a16:creationId xmlns="" xmlns:a16="http://schemas.microsoft.com/office/drawing/2014/main" id="{67FE6C7B-07E4-A2AD-6E15-FB7CBEE29110}"/>
              </a:ext>
            </a:extLst>
          </p:cNvPr>
          <p:cNvGrpSpPr/>
          <p:nvPr/>
        </p:nvGrpSpPr>
        <p:grpSpPr>
          <a:xfrm>
            <a:off x="4453757" y="3213809"/>
            <a:ext cx="4055015" cy="426404"/>
            <a:chOff x="1319041" y="2389048"/>
            <a:chExt cx="4055015" cy="426404"/>
          </a:xfrm>
        </p:grpSpPr>
        <p:cxnSp>
          <p:nvCxnSpPr>
            <p:cNvPr id="10" name="Straight Arrow Connector 9">
              <a:extLst>
                <a:ext uri="{FF2B5EF4-FFF2-40B4-BE49-F238E27FC236}">
                  <a16:creationId xmlns="" xmlns:a16="http://schemas.microsoft.com/office/drawing/2014/main" id="{C728339C-D74B-9711-8819-720CB13E0617}"/>
                </a:ext>
              </a:extLst>
            </p:cNvPr>
            <p:cNvCxnSpPr/>
            <p:nvPr/>
          </p:nvCxnSpPr>
          <p:spPr>
            <a:xfrm>
              <a:off x="1319041" y="2815452"/>
              <a:ext cx="4055015" cy="0"/>
            </a:xfrm>
            <a:prstGeom prst="straightConnector1">
              <a:avLst/>
            </a:prstGeom>
            <a:ln w="12700">
              <a:solidFill>
                <a:schemeClr val="tx2"/>
              </a:solidFill>
              <a:prstDash val="lg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>
              <a:extLst>
                <a:ext uri="{FF2B5EF4-FFF2-40B4-BE49-F238E27FC236}">
                  <a16:creationId xmlns="" xmlns:a16="http://schemas.microsoft.com/office/drawing/2014/main" id="{3CB1F4B1-52FC-C83C-634A-6E74D80554D6}"/>
                </a:ext>
              </a:extLst>
            </p:cNvPr>
            <p:cNvSpPr txBox="1"/>
            <p:nvPr/>
          </p:nvSpPr>
          <p:spPr>
            <a:xfrm>
              <a:off x="3088161" y="2389048"/>
              <a:ext cx="410690" cy="369332"/>
            </a:xfrm>
            <a:prstGeom prst="rect">
              <a:avLst/>
            </a:prstGeom>
            <a:noFill/>
            <a:ln w="38100">
              <a:solidFill>
                <a:schemeClr val="accent3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fr-CH" dirty="0">
                  <a:solidFill>
                    <a:schemeClr val="accent2"/>
                  </a:solidFill>
                </a:rPr>
                <a:t>SK</a:t>
              </a:r>
              <a:endParaRPr lang="en-CH" dirty="0">
                <a:solidFill>
                  <a:schemeClr val="accent2"/>
                </a:solidFill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="" xmlns:a16="http://schemas.microsoft.com/office/drawing/2014/main" id="{AB76C5B8-A707-40DA-7635-937096A5B5F0}"/>
                  </a:ext>
                </a:extLst>
              </p:cNvPr>
              <p:cNvSpPr txBox="1"/>
              <p:nvPr/>
            </p:nvSpPr>
            <p:spPr>
              <a:xfrm>
                <a:off x="8032653" y="396347"/>
                <a:ext cx="3990486" cy="635220"/>
              </a:xfrm>
              <a:prstGeom prst="rect">
                <a:avLst/>
              </a:prstGeom>
              <a:noFill/>
              <a:ln w="28575">
                <a:solidFill>
                  <a:schemeClr val="tx1"/>
                </a:solidFill>
              </a:ln>
            </p:spPr>
            <p:txBody>
              <a:bodyPr wrap="square" lIns="72000" tIns="72000" rIns="72000" bIns="7200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𝑓</m:t>
                      </m:r>
                      <m:d>
                        <m:d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fr-CH" i="1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𝐻𝐸</m:t>
                          </m:r>
                          <m:r>
                            <a:rPr lang="en-GB" i="1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𝑛</m:t>
                          </m:r>
                          <m:sSub>
                            <m:sSubPr>
                              <m:ctrlPr>
                                <a:rPr lang="en-GB" i="1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i="1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e>
                            <m:sub>
                              <m:sSub>
                                <m:sSubPr>
                                  <m:ctrlPr>
                                    <a:rPr lang="en-GB" i="1">
                                      <a:solidFill>
                                        <a:schemeClr val="accent3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fr-CH" i="1">
                                      <a:solidFill>
                                        <a:schemeClr val="accent3"/>
                                      </a:solidFill>
                                      <a:latin typeface="Cambria Math" panose="02040503050406030204" pitchFamily="18" charset="0"/>
                                    </a:rPr>
                                    <m:t>𝐻</m:t>
                                  </m:r>
                                  <m:r>
                                    <a:rPr lang="en-GB" i="1">
                                      <a:solidFill>
                                        <a:schemeClr val="accent3"/>
                                      </a:solidFill>
                                      <a:latin typeface="Cambria Math" panose="02040503050406030204" pitchFamily="18" charset="0"/>
                                    </a:rPr>
                                    <m:t>𝐾</m:t>
                                  </m:r>
                                </m:e>
                                <m:sub>
                                  <m:r>
                                    <a:rPr lang="en-GB" i="1">
                                      <a:solidFill>
                                        <a:schemeClr val="accent3"/>
                                      </a:solidFill>
                                      <a:latin typeface="Cambria Math" panose="02040503050406030204" pitchFamily="18" charset="0"/>
                                    </a:rPr>
                                    <m:t>𝑝𝑢𝑏</m:t>
                                  </m:r>
                                </m:sub>
                              </m:sSub>
                            </m:sub>
                          </m:sSub>
                          <m:d>
                            <m:dPr>
                              <m:ctrlPr>
                                <a:rPr lang="en-GB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fr-CH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d>
                        </m:e>
                      </m:d>
                      <m:r>
                        <a:rPr lang="en-GB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fr-CH" i="1">
                          <a:solidFill>
                            <a:schemeClr val="accent3"/>
                          </a:solidFill>
                          <a:latin typeface="Cambria Math" panose="02040503050406030204" pitchFamily="18" charset="0"/>
                        </a:rPr>
                        <m:t>𝐻𝐸</m:t>
                      </m:r>
                      <m:r>
                        <a:rPr lang="en-GB" i="1">
                          <a:solidFill>
                            <a:schemeClr val="accent3"/>
                          </a:solidFill>
                          <a:latin typeface="Cambria Math" panose="02040503050406030204" pitchFamily="18" charset="0"/>
                        </a:rPr>
                        <m:t>𝑛</m:t>
                      </m:r>
                      <m:sSub>
                        <m:sSubPr>
                          <m:ctrlPr>
                            <a:rPr lang="en-GB" i="1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i="1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sSub>
                            <m:sSubPr>
                              <m:ctrlPr>
                                <a:rPr lang="en-GB" i="1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fr-CH" i="1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  <m:t>𝐻</m:t>
                              </m:r>
                              <m:r>
                                <a:rPr lang="en-GB" i="1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  <m:t>𝐾</m:t>
                              </m:r>
                            </m:e>
                            <m:sub>
                              <m:r>
                                <a:rPr lang="en-GB" i="1">
                                  <a:solidFill>
                                    <a:schemeClr val="accent3"/>
                                  </a:solidFill>
                                  <a:latin typeface="Cambria Math" panose="02040503050406030204" pitchFamily="18" charset="0"/>
                                </a:rPr>
                                <m:t>𝑝𝑢𝑏</m:t>
                              </m:r>
                            </m:sub>
                          </m:sSub>
                        </m:sub>
                      </m:sSub>
                      <m:d>
                        <m:d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  <m:d>
                            <m:dPr>
                              <m:ctrlPr>
                                <a:rPr lang="en-GB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d>
                        </m:e>
                      </m:d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AB76C5B8-A707-40DA-7635-937096A5B5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32653" y="396347"/>
                <a:ext cx="3990486" cy="635220"/>
              </a:xfrm>
              <a:prstGeom prst="rect">
                <a:avLst/>
              </a:prstGeom>
              <a:blipFill>
                <a:blip r:embed="rId15"/>
                <a:stretch>
                  <a:fillRect l="-629"/>
                </a:stretch>
              </a:blipFill>
              <a:ln w="285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>
                <a:extLst>
                  <a:ext uri="{FF2B5EF4-FFF2-40B4-BE49-F238E27FC236}">
                    <a16:creationId xmlns="" xmlns:a16="http://schemas.microsoft.com/office/drawing/2014/main" id="{0154B363-56B0-6365-1BE8-A9332F776BCB}"/>
                  </a:ext>
                </a:extLst>
              </p:cNvPr>
              <p:cNvSpPr txBox="1"/>
              <p:nvPr/>
            </p:nvSpPr>
            <p:spPr>
              <a:xfrm>
                <a:off x="8420787" y="2953783"/>
                <a:ext cx="760571" cy="390748"/>
              </a:xfrm>
              <a:prstGeom prst="rect">
                <a:avLst/>
              </a:prstGeom>
              <a:noFill/>
              <a:ln w="38100">
                <a:noFill/>
              </a:ln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CH" b="0" i="1" smtClean="0">
                          <a:solidFill>
                            <a:schemeClr val="accent3"/>
                          </a:solidFill>
                          <a:latin typeface="Cambria Math" panose="02040503050406030204" pitchFamily="18" charset="0"/>
                        </a:rPr>
                        <m:t>𝐻</m:t>
                      </m:r>
                      <m:sSub>
                        <m:sSubPr>
                          <m:ctrlPr>
                            <a:rPr lang="fr-CH" b="0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fr-CH" b="0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r>
                            <a:rPr lang="fr-CH" b="0" i="1" smtClean="0">
                              <a:solidFill>
                                <a:schemeClr val="accent3"/>
                              </a:solidFill>
                              <a:latin typeface="Cambria Math" panose="02040503050406030204" pitchFamily="18" charset="0"/>
                            </a:rPr>
                            <m:t>𝑝𝑢𝑏</m:t>
                          </m:r>
                        </m:sub>
                      </m:sSub>
                    </m:oMath>
                  </m:oMathPara>
                </a14:m>
                <a:endParaRPr lang="fr-CH" b="0" dirty="0">
                  <a:solidFill>
                    <a:schemeClr val="accent3"/>
                  </a:solidFill>
                </a:endParaRPr>
              </a:p>
            </p:txBody>
          </p:sp>
        </mc:Choice>
        <mc:Fallback xmlns="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0154B363-56B0-6365-1BE8-A9332F776BC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20787" y="2953783"/>
                <a:ext cx="760571" cy="390748"/>
              </a:xfrm>
              <a:prstGeom prst="rect">
                <a:avLst/>
              </a:prstGeom>
              <a:blipFill>
                <a:blip r:embed="rId16"/>
                <a:stretch>
                  <a:fillRect r="-5600" b="-7813"/>
                </a:stretch>
              </a:blipFill>
              <a:ln w="38100">
                <a:noFill/>
              </a:ln>
            </p:spPr>
            <p:txBody>
              <a:bodyPr/>
              <a:lstStyle/>
              <a:p>
                <a:r>
                  <a:rPr lang="en-CH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0" name="Group 19">
            <a:extLst>
              <a:ext uri="{FF2B5EF4-FFF2-40B4-BE49-F238E27FC236}">
                <a16:creationId xmlns="" xmlns:a16="http://schemas.microsoft.com/office/drawing/2014/main" id="{FBDAF336-4C24-5683-7692-7E9A761C9C31}"/>
              </a:ext>
            </a:extLst>
          </p:cNvPr>
          <p:cNvGrpSpPr/>
          <p:nvPr/>
        </p:nvGrpSpPr>
        <p:grpSpPr>
          <a:xfrm>
            <a:off x="8316316" y="5445877"/>
            <a:ext cx="1860767" cy="369332"/>
            <a:chOff x="8743191" y="4335451"/>
            <a:chExt cx="1860767" cy="369332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2" name="TextBox 21">
                  <a:extLst>
                    <a:ext uri="{FF2B5EF4-FFF2-40B4-BE49-F238E27FC236}">
                      <a16:creationId xmlns="" xmlns:a16="http://schemas.microsoft.com/office/drawing/2014/main" id="{F32A5650-5CD7-FA2E-F2D8-766C12138076}"/>
                    </a:ext>
                  </a:extLst>
                </p:cNvPr>
                <p:cNvSpPr txBox="1"/>
                <p:nvPr/>
              </p:nvSpPr>
              <p:spPr>
                <a:xfrm>
                  <a:off x="9843493" y="4335451"/>
                  <a:ext cx="760465" cy="369332"/>
                </a:xfrm>
                <a:prstGeom prst="rect">
                  <a:avLst/>
                </a:prstGeom>
                <a:noFill/>
                <a:ln w="38100">
                  <a:solidFill>
                    <a:schemeClr val="accent3"/>
                  </a:solidFill>
                </a:ln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fr-CH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  <m:d>
                          <m:dPr>
                            <m:ctrlPr>
                              <a:rPr lang="fr-CH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r-CH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</m:d>
                      </m:oMath>
                    </m:oMathPara>
                  </a14:m>
                  <a:endParaRPr lang="en-CH" dirty="0"/>
                </a:p>
              </p:txBody>
            </p:sp>
          </mc:Choice>
          <mc:Fallback xmlns="">
            <p:sp>
              <p:nvSpPr>
                <p:cNvPr id="22" name="TextBox 21">
                  <a:extLst>
                    <a:ext uri="{FF2B5EF4-FFF2-40B4-BE49-F238E27FC236}">
                      <a16:creationId xmlns:a16="http://schemas.microsoft.com/office/drawing/2014/main" id="{F32A5650-5CD7-FA2E-F2D8-766C12138076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843493" y="4335451"/>
                  <a:ext cx="760465" cy="369332"/>
                </a:xfrm>
                <a:prstGeom prst="rect">
                  <a:avLst/>
                </a:prstGeom>
                <a:blipFill>
                  <a:blip r:embed="rId17"/>
                  <a:stretch>
                    <a:fillRect b="-7463"/>
                  </a:stretch>
                </a:blipFill>
                <a:ln w="38100">
                  <a:solidFill>
                    <a:schemeClr val="accent3"/>
                  </a:solidFill>
                </a:ln>
              </p:spPr>
              <p:txBody>
                <a:bodyPr/>
                <a:lstStyle/>
                <a:p>
                  <a:r>
                    <a:rPr lang="en-CH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7" name="TextBox 26">
                  <a:extLst>
                    <a:ext uri="{FF2B5EF4-FFF2-40B4-BE49-F238E27FC236}">
                      <a16:creationId xmlns="" xmlns:a16="http://schemas.microsoft.com/office/drawing/2014/main" id="{B167FBFA-70D1-4992-07CE-8F3CD08D9E1A}"/>
                    </a:ext>
                  </a:extLst>
                </p:cNvPr>
                <p:cNvSpPr txBox="1"/>
                <p:nvPr/>
              </p:nvSpPr>
              <p:spPr>
                <a:xfrm>
                  <a:off x="8743191" y="4335451"/>
                  <a:ext cx="1100301" cy="36933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fr-CH" b="0" i="1" smtClean="0">
                            <a:latin typeface="Cambria Math" panose="02040503050406030204" pitchFamily="18" charset="0"/>
                          </a:rPr>
                          <m:t>𝑓</m:t>
                        </m:r>
                        <m:d>
                          <m:dPr>
                            <m:ctrlPr>
                              <a:rPr lang="fr-CH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r-CH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fr-CH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  <m:r>
                              <a:rPr lang="fr-CH" b="0" i="1" smtClean="0">
                                <a:latin typeface="Cambria Math" panose="02040503050406030204" pitchFamily="18" charset="0"/>
                              </a:rPr>
                              <m:t> </m:t>
                            </m:r>
                          </m:e>
                        </m:d>
                        <m:r>
                          <a:rPr lang="fr-CH" b="0" i="1" smtClean="0">
                            <a:latin typeface="Cambria Math" panose="02040503050406030204" pitchFamily="18" charset="0"/>
                          </a:rPr>
                          <m:t>=</m:t>
                        </m:r>
                      </m:oMath>
                    </m:oMathPara>
                  </a14:m>
                  <a:endParaRPr lang="en-CH" dirty="0"/>
                </a:p>
              </p:txBody>
            </p:sp>
          </mc:Choice>
          <mc:Fallback xmlns="">
            <p:sp>
              <p:nvSpPr>
                <p:cNvPr id="27" name="TextBox 26">
                  <a:extLst>
                    <a:ext uri="{FF2B5EF4-FFF2-40B4-BE49-F238E27FC236}">
                      <a16:creationId xmlns:a16="http://schemas.microsoft.com/office/drawing/2014/main" id="{B167FBFA-70D1-4992-07CE-8F3CD08D9E1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743191" y="4335451"/>
                  <a:ext cx="1100301" cy="369332"/>
                </a:xfrm>
                <a:prstGeom prst="rect">
                  <a:avLst/>
                </a:prstGeom>
                <a:blipFill>
                  <a:blip r:embed="rId18"/>
                  <a:stretch>
                    <a:fillRect b="-13115"/>
                  </a:stretch>
                </a:blipFill>
              </p:spPr>
              <p:txBody>
                <a:bodyPr/>
                <a:lstStyle/>
                <a:p>
                  <a:r>
                    <a:rPr lang="en-CH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0F3FB30C-2F75-2F24-CF51-24D04908B2AE}"/>
                </a:ext>
              </a:extLst>
            </p:cNvPr>
            <p:cNvSpPr/>
            <p:nvPr/>
          </p:nvSpPr>
          <p:spPr>
            <a:xfrm>
              <a:off x="9112396" y="4409630"/>
              <a:ext cx="252000" cy="252000"/>
            </a:xfrm>
            <a:prstGeom prst="rect">
              <a:avLst/>
            </a:prstGeom>
            <a:noFill/>
            <a:ln w="28575">
              <a:solidFill>
                <a:schemeClr val="accent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="" xmlns:a16="http://schemas.microsoft.com/office/drawing/2014/main" id="{0783A3B6-3985-E903-F6A5-C274D6792D01}"/>
              </a:ext>
            </a:extLst>
          </p:cNvPr>
          <p:cNvGrpSpPr/>
          <p:nvPr/>
        </p:nvGrpSpPr>
        <p:grpSpPr>
          <a:xfrm>
            <a:off x="8316316" y="4689708"/>
            <a:ext cx="2691809" cy="461665"/>
            <a:chOff x="8316316" y="4689708"/>
            <a:chExt cx="2691809" cy="461665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1" name="TextBox 40">
                  <a:extLst>
                    <a:ext uri="{FF2B5EF4-FFF2-40B4-BE49-F238E27FC236}">
                      <a16:creationId xmlns="" xmlns:a16="http://schemas.microsoft.com/office/drawing/2014/main" id="{D52DB216-2AE8-AE61-EF53-871A1BAD3667}"/>
                    </a:ext>
                  </a:extLst>
                </p:cNvPr>
                <p:cNvSpPr txBox="1"/>
                <p:nvPr/>
              </p:nvSpPr>
              <p:spPr>
                <a:xfrm>
                  <a:off x="8316316" y="4689708"/>
                  <a:ext cx="2319929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fr-CH" sz="2400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𝑆𝐷𝑒</m:t>
                        </m:r>
                        <m:sSub>
                          <m:sSubPr>
                            <m:ctrlPr>
                              <a:rPr lang="fr-CH" sz="2400" b="0" i="1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CH" sz="2400" b="0" i="1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𝑐</m:t>
                            </m:r>
                          </m:e>
                          <m:sub>
                            <m:r>
                              <a:rPr lang="fr-CH" sz="2400" b="0" i="1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 </m:t>
                            </m:r>
                            <m:r>
                              <a:rPr lang="fr-CH" sz="2400" b="0" i="1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</a:rPr>
                              <m:t>𝑆𝐾</m:t>
                            </m:r>
                          </m:sub>
                        </m:sSub>
                        <m:r>
                          <a:rPr lang="fr-CH" sz="2400" b="0" i="1" smtClean="0">
                            <a:latin typeface="Cambria Math" panose="02040503050406030204" pitchFamily="18" charset="0"/>
                          </a:rPr>
                          <m:t>(       )</m:t>
                        </m:r>
                        <m:r>
                          <a:rPr lang="fr-CH" sz="2400" i="1">
                            <a:latin typeface="Cambria Math" panose="02040503050406030204" pitchFamily="18" charset="0"/>
                          </a:rPr>
                          <m:t>=</m:t>
                        </m:r>
                      </m:oMath>
                    </m:oMathPara>
                  </a14:m>
                  <a:endParaRPr lang="en-CH" sz="2400" dirty="0"/>
                </a:p>
              </p:txBody>
            </p:sp>
          </mc:Choice>
          <mc:Fallback xmlns="">
            <p:sp>
              <p:nvSpPr>
                <p:cNvPr id="41" name="TextBox 40">
                  <a:extLst>
                    <a:ext uri="{FF2B5EF4-FFF2-40B4-BE49-F238E27FC236}">
                      <a16:creationId xmlns:a16="http://schemas.microsoft.com/office/drawing/2014/main" id="{D52DB216-2AE8-AE61-EF53-871A1BAD366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8316316" y="4689708"/>
                  <a:ext cx="2319929" cy="461665"/>
                </a:xfrm>
                <a:prstGeom prst="rect">
                  <a:avLst/>
                </a:prstGeom>
                <a:blipFill>
                  <a:blip r:embed="rId19"/>
                  <a:stretch>
                    <a:fillRect b="-17105"/>
                  </a:stretch>
                </a:blipFill>
              </p:spPr>
              <p:txBody>
                <a:bodyPr/>
                <a:lstStyle/>
                <a:p>
                  <a:r>
                    <a:rPr lang="en-CH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61" name="Rectangle 60">
              <a:extLst>
                <a:ext uri="{FF2B5EF4-FFF2-40B4-BE49-F238E27FC236}">
                  <a16:creationId xmlns="" xmlns:a16="http://schemas.microsoft.com/office/drawing/2014/main" id="{272282F3-FCBB-57B1-0739-DC47D7A1C174}"/>
                </a:ext>
              </a:extLst>
            </p:cNvPr>
            <p:cNvSpPr/>
            <p:nvPr/>
          </p:nvSpPr>
          <p:spPr>
            <a:xfrm>
              <a:off x="9138254" y="4913731"/>
              <a:ext cx="330994" cy="207258"/>
            </a:xfrm>
            <a:prstGeom prst="rect">
              <a:avLst/>
            </a:prstGeom>
            <a:no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  <p:grpSp>
          <p:nvGrpSpPr>
            <p:cNvPr id="75" name="Group 74">
              <a:extLst>
                <a:ext uri="{FF2B5EF4-FFF2-40B4-BE49-F238E27FC236}">
                  <a16:creationId xmlns="" xmlns:a16="http://schemas.microsoft.com/office/drawing/2014/main" id="{39F1EAD5-B143-94BB-2E68-6271D509E9C2}"/>
                </a:ext>
              </a:extLst>
            </p:cNvPr>
            <p:cNvGrpSpPr/>
            <p:nvPr/>
          </p:nvGrpSpPr>
          <p:grpSpPr>
            <a:xfrm>
              <a:off x="9638654" y="4756998"/>
              <a:ext cx="378000" cy="342000"/>
              <a:chOff x="9638654" y="4756998"/>
              <a:chExt cx="378000" cy="342000"/>
            </a:xfrm>
          </p:grpSpPr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52" name="TextBox 51">
                    <a:extLst>
                      <a:ext uri="{FF2B5EF4-FFF2-40B4-BE49-F238E27FC236}">
                        <a16:creationId xmlns="" xmlns:a16="http://schemas.microsoft.com/office/drawing/2014/main" id="{782A86B9-4818-2B56-7DFD-B8477C62ADE7}"/>
                      </a:ext>
                    </a:extLst>
                  </p:cNvPr>
                  <p:cNvSpPr txBox="1"/>
                  <p:nvPr/>
                </p:nvSpPr>
                <p:spPr>
                  <a:xfrm>
                    <a:off x="9683137" y="4798425"/>
                    <a:ext cx="288001" cy="246221"/>
                  </a:xfrm>
                  <a:prstGeom prst="rect">
                    <a:avLst/>
                  </a:prstGeom>
                  <a:noFill/>
                  <a:ln w="12700">
                    <a:solidFill>
                      <a:schemeClr val="accent2"/>
                    </a:solidFill>
                  </a:ln>
                </p:spPr>
                <p:txBody>
                  <a:bodyPr wrap="square" lIns="72000" tIns="0" rIns="7200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fr-CH" sz="1600" i="1" dirty="0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oMath>
                      </m:oMathPara>
                    </a14:m>
                    <a:endParaRPr lang="en-CH" sz="1600" dirty="0"/>
                  </a:p>
                </p:txBody>
              </p:sp>
            </mc:Choice>
            <mc:Fallback xmlns="">
              <p:sp>
                <p:nvSpPr>
                  <p:cNvPr id="52" name="TextBox 51">
                    <a:extLst>
                      <a:ext uri="{FF2B5EF4-FFF2-40B4-BE49-F238E27FC236}">
                        <a16:creationId xmlns:a16="http://schemas.microsoft.com/office/drawing/2014/main" id="{782A86B9-4818-2B56-7DFD-B8477C62ADE7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9683137" y="4798425"/>
                    <a:ext cx="288001" cy="246221"/>
                  </a:xfrm>
                  <a:prstGeom prst="rect">
                    <a:avLst/>
                  </a:prstGeom>
                  <a:blipFill>
                    <a:blip r:embed="rId20"/>
                    <a:stretch>
                      <a:fillRect/>
                    </a:stretch>
                  </a:blipFill>
                  <a:ln w="12700">
                    <a:solidFill>
                      <a:schemeClr val="accent2"/>
                    </a:solidFill>
                  </a:ln>
                </p:spPr>
                <p:txBody>
                  <a:bodyPr/>
                  <a:lstStyle/>
                  <a:p>
                    <a:r>
                      <a:rPr lang="en-CH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sp>
            <p:nvSpPr>
              <p:cNvPr id="53" name="Rectangle 52">
                <a:extLst>
                  <a:ext uri="{FF2B5EF4-FFF2-40B4-BE49-F238E27FC236}">
                    <a16:creationId xmlns="" xmlns:a16="http://schemas.microsoft.com/office/drawing/2014/main" id="{6D5E516E-FDCE-9C33-B97E-2A24E7235AD9}"/>
                  </a:ext>
                </a:extLst>
              </p:cNvPr>
              <p:cNvSpPr/>
              <p:nvPr/>
            </p:nvSpPr>
            <p:spPr>
              <a:xfrm>
                <a:off x="9638654" y="4756998"/>
                <a:ext cx="378000" cy="342000"/>
              </a:xfrm>
              <a:prstGeom prst="rect">
                <a:avLst/>
              </a:prstGeom>
              <a:noFill/>
              <a:ln w="3810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H"/>
              </a:p>
            </p:txBody>
          </p:sp>
        </p:grp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3" name="TextBox 62">
                  <a:extLst>
                    <a:ext uri="{FF2B5EF4-FFF2-40B4-BE49-F238E27FC236}">
                      <a16:creationId xmlns="" xmlns:a16="http://schemas.microsoft.com/office/drawing/2014/main" id="{BE6CF574-82F6-A4D1-FD93-C32BC615A759}"/>
                    </a:ext>
                  </a:extLst>
                </p:cNvPr>
                <p:cNvSpPr txBox="1"/>
                <p:nvPr/>
              </p:nvSpPr>
              <p:spPr>
                <a:xfrm>
                  <a:off x="10572621" y="4751657"/>
                  <a:ext cx="435504" cy="369332"/>
                </a:xfrm>
                <a:prstGeom prst="rect">
                  <a:avLst/>
                </a:prstGeom>
                <a:noFill/>
                <a:ln w="38100">
                  <a:solidFill>
                    <a:schemeClr val="accent3"/>
                  </a:solidFill>
                </a:ln>
              </p:spPr>
              <p:txBody>
                <a:bodyPr wrap="non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fr-CH" i="1" dirty="0" smtClean="0">
                            <a:latin typeface="Cambria Math" panose="02040503050406030204" pitchFamily="18" charset="0"/>
                          </a:rPr>
                          <m:t>𝑚</m:t>
                        </m:r>
                      </m:oMath>
                    </m:oMathPara>
                  </a14:m>
                  <a:endParaRPr lang="en-CH" dirty="0"/>
                </a:p>
              </p:txBody>
            </p:sp>
          </mc:Choice>
          <mc:Fallback xmlns="">
            <p:sp>
              <p:nvSpPr>
                <p:cNvPr id="63" name="TextBox 62">
                  <a:extLst>
                    <a:ext uri="{FF2B5EF4-FFF2-40B4-BE49-F238E27FC236}">
                      <a16:creationId xmlns:a16="http://schemas.microsoft.com/office/drawing/2014/main" id="{BE6CF574-82F6-A4D1-FD93-C32BC615A75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0572621" y="4751657"/>
                  <a:ext cx="435504" cy="369332"/>
                </a:xfrm>
                <a:prstGeom prst="rect">
                  <a:avLst/>
                </a:prstGeom>
                <a:blipFill>
                  <a:blip r:embed="rId21"/>
                  <a:stretch>
                    <a:fillRect/>
                  </a:stretch>
                </a:blipFill>
                <a:ln w="38100">
                  <a:solidFill>
                    <a:schemeClr val="accent3"/>
                  </a:solidFill>
                </a:ln>
              </p:spPr>
              <p:txBody>
                <a:bodyPr/>
                <a:lstStyle/>
                <a:p>
                  <a:r>
                    <a:rPr lang="en-CH">
                      <a:noFill/>
                    </a:rPr>
                    <a:t> </a:t>
                  </a:r>
                </a:p>
              </p:txBody>
            </p:sp>
          </mc:Fallback>
        </mc:AlternateContent>
      </p:grp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88E5FE09-5EAD-82FB-5AAA-B483770B535C}"/>
              </a:ext>
            </a:extLst>
          </p:cNvPr>
          <p:cNvGrpSpPr/>
          <p:nvPr/>
        </p:nvGrpSpPr>
        <p:grpSpPr>
          <a:xfrm>
            <a:off x="8316315" y="3847842"/>
            <a:ext cx="3774608" cy="950585"/>
            <a:chOff x="8316315" y="3847842"/>
            <a:chExt cx="3774608" cy="950585"/>
          </a:xfrm>
        </p:grpSpPr>
        <p:grpSp>
          <p:nvGrpSpPr>
            <p:cNvPr id="2" name="Group 1">
              <a:extLst>
                <a:ext uri="{FF2B5EF4-FFF2-40B4-BE49-F238E27FC236}">
                  <a16:creationId xmlns="" xmlns:a16="http://schemas.microsoft.com/office/drawing/2014/main" id="{BD5345B1-9D4D-8772-68C5-72AA124BE961}"/>
                </a:ext>
              </a:extLst>
            </p:cNvPr>
            <p:cNvGrpSpPr/>
            <p:nvPr/>
          </p:nvGrpSpPr>
          <p:grpSpPr>
            <a:xfrm>
              <a:off x="8316316" y="3847842"/>
              <a:ext cx="3706823" cy="401807"/>
              <a:chOff x="8316316" y="3847842"/>
              <a:chExt cx="3706823" cy="401807"/>
            </a:xfrm>
          </p:grpSpPr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68" name="TextBox 67">
                    <a:extLst>
                      <a:ext uri="{FF2B5EF4-FFF2-40B4-BE49-F238E27FC236}">
                        <a16:creationId xmlns="" xmlns:a16="http://schemas.microsoft.com/office/drawing/2014/main" id="{992F89A8-6819-CEF6-CA04-E9C332629B4F}"/>
                      </a:ext>
                    </a:extLst>
                  </p:cNvPr>
                  <p:cNvSpPr txBox="1"/>
                  <p:nvPr/>
                </p:nvSpPr>
                <p:spPr>
                  <a:xfrm>
                    <a:off x="8316316" y="3847842"/>
                    <a:ext cx="3339109" cy="384721"/>
                  </a:xfrm>
                  <a:prstGeom prst="rect">
                    <a:avLst/>
                  </a:prstGeom>
                  <a:noFill/>
                </p:spPr>
                <p:txBody>
                  <a:bodyPr wrap="square" l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fr-CH" sz="19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fr-CH" sz="19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′( </m:t>
                          </m:r>
                          <m:r>
                            <a:rPr lang="fr-CH" sz="19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𝑆𝐾</m:t>
                          </m:r>
                          <m:r>
                            <a:rPr lang="fr-CH" sz="1900" b="0" i="1" smtClean="0">
                              <a:latin typeface="Cambria Math" panose="02040503050406030204" pitchFamily="18" charset="0"/>
                            </a:rPr>
                            <m:t> ,  )</m:t>
                          </m:r>
                          <m:r>
                            <a:rPr lang="fr-CH" sz="1900" i="1"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fr-CH" sz="19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  <m:r>
                            <a:rPr lang="fr-CH" sz="1900" b="0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′</m:t>
                          </m:r>
                          <m:d>
                            <m:dPr>
                              <m:ctrlPr>
                                <a:rPr lang="fr-CH" sz="1900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fr-CH" sz="1900" b="0" i="1" smtClean="0"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fr-CH" sz="1900" b="0" i="1" smtClean="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𝑆𝐾</m:t>
                              </m:r>
                              <m:r>
                                <a:rPr lang="fr-CH" sz="1900" b="0" i="1" smtClean="0">
                                  <a:latin typeface="Cambria Math" panose="02040503050406030204" pitchFamily="18" charset="0"/>
                                </a:rPr>
                                <m:t>,  </m:t>
                              </m:r>
                            </m:e>
                          </m:d>
                          <m:r>
                            <a:rPr lang="fr-CH" sz="1900" b="0" i="1" smtClean="0">
                              <a:latin typeface="Cambria Math" panose="02040503050406030204" pitchFamily="18" charset="0"/>
                            </a:rPr>
                            <m:t>=</m:t>
                          </m:r>
                        </m:oMath>
                      </m:oMathPara>
                    </a14:m>
                    <a:endParaRPr lang="en-CH" sz="1900" dirty="0"/>
                  </a:p>
                </p:txBody>
              </p:sp>
            </mc:Choice>
            <mc:Fallback xmlns="">
              <p:sp>
                <p:nvSpPr>
                  <p:cNvPr id="68" name="TextBox 67">
                    <a:extLst>
                      <a:ext uri="{FF2B5EF4-FFF2-40B4-BE49-F238E27FC236}">
                        <a16:creationId xmlns:a16="http://schemas.microsoft.com/office/drawing/2014/main" id="{992F89A8-6819-CEF6-CA04-E9C332629B4F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8316316" y="3847842"/>
                    <a:ext cx="3339109" cy="384721"/>
                  </a:xfrm>
                  <a:prstGeom prst="rect">
                    <a:avLst/>
                  </a:prstGeom>
                  <a:blipFill>
                    <a:blip r:embed="rId22"/>
                    <a:stretch>
                      <a:fillRect l="-2737" b="-15873"/>
                    </a:stretch>
                  </a:blipFill>
                </p:spPr>
                <p:txBody>
                  <a:bodyPr/>
                  <a:lstStyle/>
                  <a:p>
                    <a:r>
                      <a:rPr lang="en-CH">
                        <a:noFill/>
                      </a:rPr>
                      <a:t> </a:t>
                    </a:r>
                  </a:p>
                </p:txBody>
              </p:sp>
            </mc:Fallback>
          </mc:AlternateContent>
          <p:grpSp>
            <p:nvGrpSpPr>
              <p:cNvPr id="77" name="Group 76">
                <a:extLst>
                  <a:ext uri="{FF2B5EF4-FFF2-40B4-BE49-F238E27FC236}">
                    <a16:creationId xmlns="" xmlns:a16="http://schemas.microsoft.com/office/drawing/2014/main" id="{9BD1A00A-34B0-FFEC-1526-53A3FB944E27}"/>
                  </a:ext>
                </a:extLst>
              </p:cNvPr>
              <p:cNvGrpSpPr/>
              <p:nvPr/>
            </p:nvGrpSpPr>
            <p:grpSpPr>
              <a:xfrm>
                <a:off x="9142499" y="3892344"/>
                <a:ext cx="378000" cy="342000"/>
                <a:chOff x="9181358" y="3892344"/>
                <a:chExt cx="378000" cy="342000"/>
              </a:xfrm>
            </p:grpSpPr>
            <mc:AlternateContent xmlns:mc="http://schemas.openxmlformats.org/markup-compatibility/2006" xmlns:a14="http://schemas.microsoft.com/office/drawing/2010/main">
              <mc:Choice Requires="a14">
                <p:sp>
                  <p:nvSpPr>
                    <p:cNvPr id="72" name="TextBox 71">
                      <a:extLst>
                        <a:ext uri="{FF2B5EF4-FFF2-40B4-BE49-F238E27FC236}">
                          <a16:creationId xmlns="" xmlns:a16="http://schemas.microsoft.com/office/drawing/2014/main" id="{7042D457-33CC-EAEB-E193-D935A09E3B9B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9225841" y="3933771"/>
                      <a:ext cx="288001" cy="246221"/>
                    </a:xfrm>
                    <a:prstGeom prst="rect">
                      <a:avLst/>
                    </a:prstGeom>
                    <a:noFill/>
                    <a:ln w="12700">
                      <a:solidFill>
                        <a:schemeClr val="accent2"/>
                      </a:solidFill>
                    </a:ln>
                  </p:spPr>
                  <p:txBody>
                    <a:bodyPr wrap="square" lIns="72000" tIns="0" rIns="72000" bIns="0" rtlCol="0">
                      <a:spAutoFit/>
                    </a:bodyPr>
                    <a:lstStyle/>
                    <a:p>
                      <a:pPr/>
                      <a14:m>
                        <m:oMathPara xmlns:m="http://schemas.openxmlformats.org/officeDocument/2006/math">
                          <m:oMathParaPr>
                            <m:jc m:val="centerGroup"/>
                          </m:oMathParaPr>
                          <m:oMath xmlns:m="http://schemas.openxmlformats.org/officeDocument/2006/math">
                            <m:r>
                              <a:rPr lang="fr-CH" sz="1600" i="1" dirty="0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</m:oMath>
                        </m:oMathPara>
                      </a14:m>
                      <a:endParaRPr lang="en-CH" sz="1600" dirty="0"/>
                    </a:p>
                  </p:txBody>
                </p:sp>
              </mc:Choice>
              <mc:Fallback xmlns="">
                <p:sp>
                  <p:nvSpPr>
                    <p:cNvPr id="72" name="TextBox 71">
                      <a:extLst>
                        <a:ext uri="{FF2B5EF4-FFF2-40B4-BE49-F238E27FC236}">
                          <a16:creationId xmlns:a16="http://schemas.microsoft.com/office/drawing/2014/main" id="{7042D457-33CC-EAEB-E193-D935A09E3B9B}"/>
                        </a:ext>
                      </a:extLst>
                    </p:cNvPr>
                    <p:cNvSpPr txBox="1">
                      <a:spLocks noRot="1" noChangeAspect="1" noMove="1" noResize="1" noEditPoints="1" noAdjustHandles="1" noChangeArrowheads="1" noChangeShapeType="1" noTextEdit="1"/>
                    </p:cNvSpPr>
                    <p:nvPr/>
                  </p:nvSpPr>
                  <p:spPr>
                    <a:xfrm>
                      <a:off x="9225841" y="3933771"/>
                      <a:ext cx="288001" cy="246221"/>
                    </a:xfrm>
                    <a:prstGeom prst="rect">
                      <a:avLst/>
                    </a:prstGeom>
                    <a:blipFill>
                      <a:blip r:embed="rId23"/>
                      <a:stretch>
                        <a:fillRect/>
                      </a:stretch>
                    </a:blipFill>
                    <a:ln w="12700">
                      <a:solidFill>
                        <a:schemeClr val="accent2"/>
                      </a:solidFill>
                    </a:ln>
                  </p:spPr>
                  <p:txBody>
                    <a:bodyPr/>
                    <a:lstStyle/>
                    <a:p>
                      <a:r>
                        <a:rPr lang="en-CH">
                          <a:noFill/>
                        </a:rPr>
                        <a:t> </a:t>
                      </a:r>
                    </a:p>
                  </p:txBody>
                </p:sp>
              </mc:Fallback>
            </mc:AlternateContent>
            <p:sp>
              <p:nvSpPr>
                <p:cNvPr id="73" name="Rectangle 72">
                  <a:extLst>
                    <a:ext uri="{FF2B5EF4-FFF2-40B4-BE49-F238E27FC236}">
                      <a16:creationId xmlns="" xmlns:a16="http://schemas.microsoft.com/office/drawing/2014/main" id="{D236516C-B079-F8A8-002E-C1746FD32641}"/>
                    </a:ext>
                  </a:extLst>
                </p:cNvPr>
                <p:cNvSpPr/>
                <p:nvPr/>
              </p:nvSpPr>
              <p:spPr>
                <a:xfrm>
                  <a:off x="9181358" y="3892344"/>
                  <a:ext cx="378000" cy="342000"/>
                </a:xfrm>
                <a:prstGeom prst="rect">
                  <a:avLst/>
                </a:prstGeom>
                <a:noFill/>
                <a:ln w="38100">
                  <a:solidFill>
                    <a:schemeClr val="accent3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H"/>
                </a:p>
              </p:txBody>
            </p:sp>
          </p:grpSp>
          <p:sp>
            <p:nvSpPr>
              <p:cNvPr id="70" name="Rectangle 69">
                <a:extLst>
                  <a:ext uri="{FF2B5EF4-FFF2-40B4-BE49-F238E27FC236}">
                    <a16:creationId xmlns="" xmlns:a16="http://schemas.microsoft.com/office/drawing/2014/main" id="{E06D5819-8FCD-8B57-BE9A-41C10D2C6F9E}"/>
                  </a:ext>
                </a:extLst>
              </p:cNvPr>
              <p:cNvSpPr/>
              <p:nvPr/>
            </p:nvSpPr>
            <p:spPr>
              <a:xfrm>
                <a:off x="8643187" y="3892344"/>
                <a:ext cx="387140" cy="342000"/>
              </a:xfrm>
              <a:prstGeom prst="rect">
                <a:avLst/>
              </a:prstGeom>
              <a:noFill/>
              <a:ln w="3810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H"/>
              </a:p>
            </p:txBody>
          </p:sp>
          <p:sp>
            <p:nvSpPr>
              <p:cNvPr id="74" name="Rectangle 73">
                <a:extLst>
                  <a:ext uri="{FF2B5EF4-FFF2-40B4-BE49-F238E27FC236}">
                    <a16:creationId xmlns="" xmlns:a16="http://schemas.microsoft.com/office/drawing/2014/main" id="{2CACBC6B-7DD2-40FE-797A-40CFF9F0B4CC}"/>
                  </a:ext>
                </a:extLst>
              </p:cNvPr>
              <p:cNvSpPr/>
              <p:nvPr/>
            </p:nvSpPr>
            <p:spPr>
              <a:xfrm>
                <a:off x="9960350" y="3892344"/>
                <a:ext cx="1358766" cy="342000"/>
              </a:xfrm>
              <a:prstGeom prst="rect">
                <a:avLst/>
              </a:prstGeom>
              <a:noFill/>
              <a:ln w="3810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H"/>
              </a:p>
            </p:txBody>
          </p:sp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80" name="TextBox 79">
                    <a:extLst>
                      <a:ext uri="{FF2B5EF4-FFF2-40B4-BE49-F238E27FC236}">
                        <a16:creationId xmlns="" xmlns:a16="http://schemas.microsoft.com/office/drawing/2014/main" id="{CE03A3FD-8785-62B1-8D97-7979005149A5}"/>
                      </a:ext>
                    </a:extLst>
                  </p:cNvPr>
                  <p:cNvSpPr txBox="1"/>
                  <p:nvPr/>
                </p:nvSpPr>
                <p:spPr>
                  <a:xfrm>
                    <a:off x="11587635" y="3880317"/>
                    <a:ext cx="435504" cy="369332"/>
                  </a:xfrm>
                  <a:prstGeom prst="rect">
                    <a:avLst/>
                  </a:prstGeom>
                  <a:noFill/>
                  <a:ln w="38100">
                    <a:solidFill>
                      <a:schemeClr val="accent3"/>
                    </a:solidFill>
                  </a:ln>
                </p:spPr>
                <p:txBody>
                  <a:bodyPr wrap="square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fr-CH" i="1" dirty="0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oMath>
                      </m:oMathPara>
                    </a14:m>
                    <a:endParaRPr lang="en-CH" dirty="0"/>
                  </a:p>
                </p:txBody>
              </p:sp>
            </mc:Choice>
            <mc:Fallback xmlns="">
              <p:sp>
                <p:nvSpPr>
                  <p:cNvPr id="80" name="TextBox 79">
                    <a:extLst>
                      <a:ext uri="{FF2B5EF4-FFF2-40B4-BE49-F238E27FC236}">
                        <a16:creationId xmlns:a16="http://schemas.microsoft.com/office/drawing/2014/main" id="{CE03A3FD-8785-62B1-8D97-7979005149A5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1587635" y="3880317"/>
                    <a:ext cx="435504" cy="369332"/>
                  </a:xfrm>
                  <a:prstGeom prst="rect">
                    <a:avLst/>
                  </a:prstGeom>
                  <a:blipFill>
                    <a:blip r:embed="rId24"/>
                    <a:stretch>
                      <a:fillRect/>
                    </a:stretch>
                  </a:blipFill>
                  <a:ln w="38100">
                    <a:solidFill>
                      <a:schemeClr val="accent3"/>
                    </a:solidFill>
                  </a:ln>
                </p:spPr>
                <p:txBody>
                  <a:bodyPr/>
                  <a:lstStyle/>
                  <a:p>
                    <a:r>
                      <a:rPr lang="en-CH">
                        <a:noFill/>
                      </a:rPr>
                      <a:t> </a:t>
                    </a:r>
                  </a:p>
                </p:txBody>
              </p:sp>
            </mc:Fallback>
          </mc:AlternateContent>
          <mc:AlternateContent xmlns:mc="http://schemas.openxmlformats.org/markup-compatibility/2006" xmlns:a14="http://schemas.microsoft.com/office/drawing/2010/main">
            <mc:Choice Requires="a14">
              <p:sp>
                <p:nvSpPr>
                  <p:cNvPr id="82" name="TextBox 81">
                    <a:extLst>
                      <a:ext uri="{FF2B5EF4-FFF2-40B4-BE49-F238E27FC236}">
                        <a16:creationId xmlns="" xmlns:a16="http://schemas.microsoft.com/office/drawing/2014/main" id="{BD99E650-D40D-94F0-3411-B465A0B0335D}"/>
                      </a:ext>
                    </a:extLst>
                  </p:cNvPr>
                  <p:cNvSpPr txBox="1"/>
                  <p:nvPr/>
                </p:nvSpPr>
                <p:spPr>
                  <a:xfrm>
                    <a:off x="10790373" y="3933771"/>
                    <a:ext cx="288001" cy="246221"/>
                  </a:xfrm>
                  <a:prstGeom prst="rect">
                    <a:avLst/>
                  </a:prstGeom>
                  <a:noFill/>
                  <a:ln w="12700">
                    <a:solidFill>
                      <a:schemeClr val="accent2"/>
                    </a:solidFill>
                  </a:ln>
                </p:spPr>
                <p:txBody>
                  <a:bodyPr wrap="square" lIns="72000" tIns="0" rIns="72000" bIns="0" rtlCol="0">
                    <a:spAutoFit/>
                  </a:bodyPr>
                  <a:lstStyle/>
                  <a:p>
                    <a:pPr/>
                    <a14:m>
                      <m:oMathPara xmlns:m="http://schemas.openxmlformats.org/officeDocument/2006/math">
                        <m:oMathParaPr>
                          <m:jc m:val="centerGroup"/>
                        </m:oMathParaPr>
                        <m:oMath xmlns:m="http://schemas.openxmlformats.org/officeDocument/2006/math">
                          <m:r>
                            <a:rPr lang="fr-CH" sz="1600" i="1" dirty="0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oMath>
                      </m:oMathPara>
                    </a14:m>
                    <a:endParaRPr lang="en-CH" sz="1600" dirty="0"/>
                  </a:p>
                </p:txBody>
              </p:sp>
            </mc:Choice>
            <mc:Fallback xmlns="">
              <p:sp>
                <p:nvSpPr>
                  <p:cNvPr id="82" name="TextBox 81">
                    <a:extLst>
                      <a:ext uri="{FF2B5EF4-FFF2-40B4-BE49-F238E27FC236}">
                        <a16:creationId xmlns:a16="http://schemas.microsoft.com/office/drawing/2014/main" id="{BD99E650-D40D-94F0-3411-B465A0B0335D}"/>
                      </a:ext>
                    </a:extLst>
                  </p:cNvPr>
                  <p:cNvSpPr txBox="1">
                    <a:spLocks noRot="1" noChangeAspect="1" noMove="1" noResize="1" noEditPoints="1" noAdjustHandles="1" noChangeArrowheads="1" noChangeShapeType="1" noTextEdit="1"/>
                  </p:cNvSpPr>
                  <p:nvPr/>
                </p:nvSpPr>
                <p:spPr>
                  <a:xfrm>
                    <a:off x="10790373" y="3933771"/>
                    <a:ext cx="288001" cy="246221"/>
                  </a:xfrm>
                  <a:prstGeom prst="rect">
                    <a:avLst/>
                  </a:prstGeom>
                  <a:blipFill>
                    <a:blip r:embed="rId25"/>
                    <a:stretch>
                      <a:fillRect/>
                    </a:stretch>
                  </a:blipFill>
                  <a:ln w="12700">
                    <a:solidFill>
                      <a:schemeClr val="accent2"/>
                    </a:solidFill>
                  </a:ln>
                </p:spPr>
                <p:txBody>
                  <a:bodyPr/>
                  <a:lstStyle/>
                  <a:p>
                    <a:r>
                      <a:rPr lang="en-CH">
                        <a:noFill/>
                      </a:rPr>
                      <a:t> </a:t>
                    </a:r>
                  </a:p>
                </p:txBody>
              </p:sp>
            </mc:Fallback>
          </mc:AlternateContent>
        </p:grpSp>
        <p:sp>
          <p:nvSpPr>
            <p:cNvPr id="84" name="Right Brace 83">
              <a:extLst>
                <a:ext uri="{FF2B5EF4-FFF2-40B4-BE49-F238E27FC236}">
                  <a16:creationId xmlns="" xmlns:a16="http://schemas.microsoft.com/office/drawing/2014/main" id="{3F476E0B-E5ED-0901-7A16-20363499CF1F}"/>
                </a:ext>
              </a:extLst>
            </p:cNvPr>
            <p:cNvSpPr/>
            <p:nvPr/>
          </p:nvSpPr>
          <p:spPr>
            <a:xfrm rot="5400000">
              <a:off x="9912994" y="2620499"/>
              <a:ext cx="581249" cy="3774608"/>
            </a:xfrm>
            <a:prstGeom prst="rightBrace">
              <a:avLst>
                <a:gd name="adj1" fmla="val 184751"/>
                <a:gd name="adj2" fmla="val 45139"/>
              </a:avLst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88" name="TextBox 87">
                  <a:extLst>
                    <a:ext uri="{FF2B5EF4-FFF2-40B4-BE49-F238E27FC236}">
                      <a16:creationId xmlns="" xmlns:a16="http://schemas.microsoft.com/office/drawing/2014/main" id="{3CAA9AA0-A533-B818-7E4A-F1797FF63C4E}"/>
                    </a:ext>
                  </a:extLst>
                </p:cNvPr>
                <p:cNvSpPr txBox="1"/>
                <p:nvPr/>
              </p:nvSpPr>
              <p:spPr>
                <a:xfrm>
                  <a:off x="9585664" y="4241315"/>
                  <a:ext cx="1860317" cy="30777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fr-CH" sz="1400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𝑓</m:t>
                        </m:r>
                        <m:r>
                          <a:rPr lang="fr-CH" sz="1400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</a:rPr>
                          <m:t>′</m:t>
                        </m:r>
                        <m:d>
                          <m:dPr>
                            <m:ctrlPr>
                              <a:rPr lang="fr-CH" sz="1400" b="0" i="1" smtClean="0"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fr-CH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∙,∙</m:t>
                            </m:r>
                          </m:e>
                        </m:d>
                        <m:box>
                          <m:boxPr>
                            <m:ctrlPr>
                              <a:rPr lang="fr-CH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boxPr>
                          <m:e>
                            <m:r>
                              <a:rPr lang="fr-CH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≔</m:t>
                            </m:r>
                          </m:e>
                        </m:box>
                        <m:r>
                          <a:rPr lang="fr-CH" sz="1400" b="0" i="1" smtClean="0">
                            <a:solidFill>
                              <a:schemeClr val="accent2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𝑆𝐷𝑒</m:t>
                        </m:r>
                        <m:sSub>
                          <m:sSubPr>
                            <m:ctrlPr>
                              <a:rPr lang="fr-CH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fr-CH" sz="1400" b="0" i="1" smtClean="0">
                                <a:solidFill>
                                  <a:schemeClr val="accent2"/>
                                </a:solidFill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𝑐</m:t>
                            </m:r>
                          </m:e>
                          <m:sub>
                            <m:r>
                              <a:rPr lang="fr-CH" sz="1400" b="0" i="1" smtClean="0">
                                <a:latin typeface="Cambria Math" panose="02040503050406030204" pitchFamily="18" charset="0"/>
                                <a:ea typeface="Cambria Math" panose="02040503050406030204" pitchFamily="18" charset="0"/>
                              </a:rPr>
                              <m:t>∙</m:t>
                            </m:r>
                          </m:sub>
                        </m:sSub>
                        <m:r>
                          <a:rPr lang="fr-CH" sz="14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(∙)</m:t>
                        </m:r>
                      </m:oMath>
                    </m:oMathPara>
                  </a14:m>
                  <a:endParaRPr lang="en-CH" sz="1400" dirty="0"/>
                </a:p>
              </p:txBody>
            </p:sp>
          </mc:Choice>
          <mc:Fallback xmlns="">
            <p:sp>
              <p:nvSpPr>
                <p:cNvPr id="88" name="TextBox 87">
                  <a:extLst>
                    <a:ext uri="{FF2B5EF4-FFF2-40B4-BE49-F238E27FC236}">
                      <a16:creationId xmlns:a16="http://schemas.microsoft.com/office/drawing/2014/main" id="{3CAA9AA0-A533-B818-7E4A-F1797FF63C4E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9585664" y="4241315"/>
                  <a:ext cx="1860317" cy="307777"/>
                </a:xfrm>
                <a:prstGeom prst="rect">
                  <a:avLst/>
                </a:prstGeom>
                <a:blipFill>
                  <a:blip r:embed="rId26"/>
                  <a:stretch>
                    <a:fillRect b="-10000"/>
                  </a:stretch>
                </a:blipFill>
              </p:spPr>
              <p:txBody>
                <a:bodyPr/>
                <a:lstStyle/>
                <a:p>
                  <a:r>
                    <a:rPr lang="en-CH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93" name="TextBox 92">
                <a:extLst>
                  <a:ext uri="{FF2B5EF4-FFF2-40B4-BE49-F238E27FC236}">
                    <a16:creationId xmlns="" xmlns:a16="http://schemas.microsoft.com/office/drawing/2014/main" id="{75719A5B-2D6E-B0DB-953A-74F16B363529}"/>
                  </a:ext>
                </a:extLst>
              </p:cNvPr>
              <p:cNvSpPr txBox="1"/>
              <p:nvPr/>
            </p:nvSpPr>
            <p:spPr>
              <a:xfrm>
                <a:off x="3495373" y="3344531"/>
                <a:ext cx="435504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fr-CH" b="0" i="1" smtClean="0">
                          <a:latin typeface="Cambria Math" panose="02040503050406030204" pitchFamily="18" charset="0"/>
                        </a:rPr>
                        <m:t>𝑚</m:t>
                      </m:r>
                    </m:oMath>
                  </m:oMathPara>
                </a14:m>
                <a:endParaRPr lang="en-CH" dirty="0"/>
              </a:p>
            </p:txBody>
          </p:sp>
        </mc:Choice>
        <mc:Fallback xmlns=""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75719A5B-2D6E-B0DB-953A-74F16B36352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95373" y="3344531"/>
                <a:ext cx="435504" cy="369332"/>
              </a:xfrm>
              <a:prstGeom prst="rect">
                <a:avLst/>
              </a:prstGeom>
              <a:blipFill>
                <a:blip r:embed="rId2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CH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747894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="" xmlns:a16="http://schemas.microsoft.com/office/drawing/2014/main" id="{1169EB5A-457A-52E5-1F9B-F973C09570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ybrid Homomorphic Encryption</a:t>
            </a:r>
            <a:endParaRPr lang="en-CH" dirty="0"/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id="{B2B89228-025D-C415-FFB1-F7CFC44D6D1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sz="2800" b="0" dirty="0"/>
              <a:t>Same guarantees as Fully Homomorphic Encryption</a:t>
            </a:r>
          </a:p>
          <a:p>
            <a:pPr lvl="1"/>
            <a:r>
              <a:rPr lang="en-GB" dirty="0"/>
              <a:t>Confidentiality</a:t>
            </a:r>
          </a:p>
          <a:p>
            <a:pPr lvl="1"/>
            <a:r>
              <a:rPr lang="en-GB" b="0" dirty="0"/>
              <a:t>Computation on encrypted data</a:t>
            </a:r>
          </a:p>
          <a:p>
            <a:pPr lvl="1"/>
            <a:endParaRPr lang="en-GB" b="0" dirty="0"/>
          </a:p>
          <a:p>
            <a:pPr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en-GB" b="0" dirty="0"/>
              <a:t> Smaller ciphertexts → less bandwidth use</a:t>
            </a:r>
            <a:r>
              <a:rPr lang="en-GB" dirty="0"/>
              <a:t>d</a:t>
            </a:r>
          </a:p>
          <a:p>
            <a:pPr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en-GB" b="0" dirty="0"/>
              <a:t> Overhead shifted to the server</a:t>
            </a:r>
          </a:p>
          <a:p>
            <a:pPr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en-GB" dirty="0"/>
              <a:t> Perfect for IoT !</a:t>
            </a:r>
          </a:p>
          <a:p>
            <a:pPr marL="230400" marR="0" lvl="0" indent="-230400" algn="l" defTabSz="914400" rtl="0" eaLnBrk="1" fontAlgn="auto" latinLnBrk="0" hangingPunct="1">
              <a:spcAft>
                <a:spcPts val="0"/>
              </a:spcAft>
              <a:buClr>
                <a:srgbClr val="E73843"/>
              </a:buClr>
              <a:buSzPct val="105000"/>
              <a:buFont typeface="Calibri" panose="020F0502020204030204" pitchFamily="34" charset="0"/>
              <a:buChar char="×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5B6770"/>
                </a:solidFill>
                <a:effectLst/>
                <a:uLnTx/>
                <a:uFillTx/>
                <a:ea typeface="Cambria" panose="02040503050406030204" pitchFamily="18" charset="0"/>
              </a:rPr>
              <a:t> </a:t>
            </a:r>
            <a:r>
              <a:rPr kumimoji="0" lang="en-US" b="0" i="0" u="none" strike="noStrike" kern="1200" cap="none" spc="0" normalizeH="0" noProof="0" dirty="0">
                <a:ln>
                  <a:noFill/>
                </a:ln>
                <a:solidFill>
                  <a:srgbClr val="5B6770"/>
                </a:solidFill>
                <a:effectLst/>
                <a:uLnTx/>
                <a:uFillTx/>
                <a:ea typeface="Cambria" panose="02040503050406030204" pitchFamily="18" charset="0"/>
              </a:rPr>
              <a:t>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5B6770"/>
                </a:solidFill>
                <a:effectLst/>
                <a:uLnTx/>
                <a:uFillTx/>
                <a:ea typeface="Cambria Math" panose="02040503050406030204" pitchFamily="18" charset="0"/>
              </a:rPr>
              <a:t>Symmetric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5B6770"/>
                </a:solidFill>
                <a:effectLst/>
                <a:uLnTx/>
                <a:uFillTx/>
                <a:ea typeface="Cambria" panose="02040503050406030204" pitchFamily="18" charset="0"/>
              </a:rPr>
              <a:t> decryption must be efficient homomorphically</a:t>
            </a:r>
          </a:p>
          <a:p>
            <a:pPr marL="457189" lvl="1" indent="0" defTabSz="914400">
              <a:buClr>
                <a:srgbClr val="E73843"/>
              </a:buClr>
              <a:buSzPct val="105000"/>
              <a:buNone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5B6770"/>
                </a:solidFill>
                <a:effectLst/>
                <a:uLnTx/>
                <a:uFillTx/>
                <a:ea typeface="Cambria" panose="02040503050406030204" pitchFamily="18" charset="0"/>
              </a:rPr>
              <a:t>→ Elisabeth-b4</a:t>
            </a:r>
            <a:r>
              <a:rPr kumimoji="0" lang="en-US" b="0" i="0" u="none" strike="noStrike" kern="1200" cap="none" spc="0" normalizeH="0" noProof="0" dirty="0">
                <a:ln>
                  <a:noFill/>
                </a:ln>
                <a:solidFill>
                  <a:srgbClr val="5B6770"/>
                </a:solidFill>
                <a:effectLst/>
                <a:uLnTx/>
                <a:uFillTx/>
                <a:ea typeface="Cambria" panose="02040503050406030204" pitchFamily="18" charset="0"/>
              </a:rPr>
              <a:t> !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5B6770"/>
              </a:solidFill>
              <a:effectLst/>
              <a:uLnTx/>
              <a:uFillTx/>
              <a:ea typeface="Cambria" panose="02040503050406030204" pitchFamily="18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="" xmlns:a16="http://schemas.microsoft.com/office/drawing/2014/main" id="{FE88BE84-624B-9FFC-DE5B-5EE3AFBC44A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CH" dirty="0"/>
              <a:t>CONTEXT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33285631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7" name="Content Placeholder 6"/>
              <p:cNvSpPr>
                <a:spLocks noGrp="1"/>
              </p:cNvSpPr>
              <p:nvPr>
                <p:ph sz="half" idx="2"/>
              </p:nvPr>
            </p:nvSpPr>
            <p:spPr>
              <a:xfrm>
                <a:off x="6197600" y="1828799"/>
                <a:ext cx="5156199" cy="4323229"/>
              </a:xfrm>
            </p:spPr>
            <p:txBody>
              <a:bodyPr/>
              <a:lstStyle/>
              <a:p>
                <a:r>
                  <a:rPr lang="en-US" sz="2800" dirty="0" smtClean="0"/>
                  <a:t>Symmetric stream cipher operating 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800" i="1">
                            <a:latin typeface="Cambria Math" panose="02040503050406030204" pitchFamily="18" charset="0"/>
                          </a:rPr>
                          <m:t>ℤ</m:t>
                        </m:r>
                      </m:e>
                      <m:sub>
                        <m:r>
                          <a:rPr lang="en-US" sz="2800" i="1">
                            <a:latin typeface="Cambria Math" panose="02040503050406030204" pitchFamily="18" charset="0"/>
                          </a:rPr>
                          <m:t>16</m:t>
                        </m:r>
                      </m:sub>
                    </m:sSub>
                  </m:oMath>
                </a14:m>
                <a:endParaRPr lang="en-US" sz="2800" dirty="0"/>
              </a:p>
              <a:p>
                <a:r>
                  <a:rPr lang="en-US" sz="2800" dirty="0"/>
                  <a:t>Designed to be easily decryptable homomorphically</a:t>
                </a:r>
              </a:p>
              <a:p>
                <a:endParaRPr lang="en-US" sz="2800" dirty="0"/>
              </a:p>
              <a:p>
                <a:r>
                  <a:rPr lang="en-US" sz="2800" dirty="0"/>
                  <a:t>Stream:</a:t>
                </a:r>
              </a:p>
              <a:p>
                <a:pPr lvl="1"/>
                <a:r>
                  <a:rPr lang="en-US" sz="2000" dirty="0">
                    <a:solidFill>
                      <a:srgbClr val="5B6770"/>
                    </a:solidFill>
                  </a:rPr>
                  <a:t>512-nibble</a:t>
                </a:r>
                <a:r>
                  <a:rPr lang="en-US" sz="2000" dirty="0"/>
                  <a:t> key</a:t>
                </a:r>
              </a:p>
              <a:p>
                <a:pPr lvl="1"/>
                <a:r>
                  <a:rPr lang="en-US" sz="2000" dirty="0"/>
                  <a:t>Random whitened subset (RWS)                </a:t>
                </a:r>
                <a:r>
                  <a:rPr lang="en-US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→ </a:t>
                </a:r>
                <a:r>
                  <a:rPr lang="en-US" sz="2000" dirty="0"/>
                  <a:t>98-nibble </a:t>
                </a:r>
                <a:r>
                  <a:rPr lang="en-US" sz="2000" dirty="0" err="1"/>
                  <a:t>keyround</a:t>
                </a:r>
                <a:endParaRPr lang="en-US" sz="2000" dirty="0"/>
              </a:p>
              <a:p>
                <a:pPr lvl="1"/>
                <a:r>
                  <a:rPr lang="en-US" sz="2000" dirty="0" err="1" smtClean="0"/>
                  <a:t>Keyround</a:t>
                </a:r>
                <a:r>
                  <a:rPr lang="en-US" sz="2000" dirty="0" smtClean="0"/>
                  <a:t> </a:t>
                </a:r>
                <a:r>
                  <a:rPr lang="en-US" sz="2000" dirty="0"/>
                  <a:t>divided in 14 blocks of size 7 and function </a:t>
                </a:r>
                <a14:m>
                  <m:oMath xmlns:m="http://schemas.openxmlformats.org/officeDocument/2006/math">
                    <m:r>
                      <a:rPr lang="fr-CH" sz="2000" i="1">
                        <a:latin typeface="Cambria Math" panose="02040503050406030204" pitchFamily="18" charset="0"/>
                      </a:rPr>
                      <m:t>𝑓</m:t>
                    </m:r>
                  </m:oMath>
                </a14:m>
                <a:r>
                  <a:rPr lang="en-US" sz="2000" dirty="0"/>
                  <a:t> is applied to each of them</a:t>
                </a:r>
              </a:p>
            </p:txBody>
          </p:sp>
        </mc:Choice>
        <mc:Fallback xmlns="">
          <p:sp>
            <p:nvSpPr>
              <p:cNvPr id="7" name="Content Placeholder 6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half" idx="2"/>
              </p:nvPr>
            </p:nvSpPr>
            <p:spPr>
              <a:xfrm>
                <a:off x="6197600" y="1828799"/>
                <a:ext cx="5156199" cy="4323229"/>
              </a:xfrm>
              <a:blipFill rotWithShape="0">
                <a:blip r:embed="rId3"/>
                <a:stretch>
                  <a:fillRect l="-3905" t="-3385" r="-4260" b="-183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38200" y="964800"/>
            <a:ext cx="10515599" cy="656591"/>
          </a:xfrm>
        </p:spPr>
        <p:txBody>
          <a:bodyPr/>
          <a:lstStyle/>
          <a:p>
            <a:r>
              <a:rPr lang="en-US" dirty="0"/>
              <a:t>Elisabeth-b4 [3]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9992" y="1836666"/>
            <a:ext cx="4754882" cy="4105509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838198" y="6324784"/>
            <a:ext cx="23692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/>
                </a:solidFill>
              </a:rPr>
              <a:t>[3] </a:t>
            </a:r>
            <a:r>
              <a:rPr lang="en-US" sz="1000" dirty="0">
                <a:solidFill>
                  <a:schemeClr val="tx2"/>
                </a:solidFill>
                <a:hlinkClick r:id="rId5"/>
              </a:rPr>
              <a:t>https://eprint.iacr.org/2023/1895.pdf</a:t>
            </a:r>
            <a:endParaRPr lang="en-US" sz="1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1126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="" xmlns:a16="http://schemas.microsoft.com/office/drawing/2014/main" id="{B6EFC297-A7A8-30EA-4596-A8B6375A9A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="" xmlns:a16="http://schemas.microsoft.com/office/drawing/2014/main" id="{5E2B3F9A-46B8-C3C2-8DBA-B76CEB187B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64800"/>
            <a:ext cx="10515599" cy="656591"/>
          </a:xfrm>
        </p:spPr>
        <p:txBody>
          <a:bodyPr/>
          <a:lstStyle/>
          <a:p>
            <a:r>
              <a:rPr lang="en-US" dirty="0"/>
              <a:t>Setup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D6FF36E3-6538-8F53-64A4-9C30469B71F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28000" y="630000"/>
            <a:ext cx="10515600" cy="201784"/>
          </a:xfrm>
        </p:spPr>
        <p:txBody>
          <a:bodyPr/>
          <a:lstStyle/>
          <a:p>
            <a:r>
              <a:rPr lang="en-US" dirty="0">
                <a:solidFill>
                  <a:schemeClr val="accent3"/>
                </a:solidFill>
              </a:rPr>
              <a:t>ATTACKS</a:t>
            </a:r>
          </a:p>
        </p:txBody>
      </p:sp>
      <p:pic>
        <p:nvPicPr>
          <p:cNvPr id="9" name="Picture 8" descr="A close-up of a machine&#10;&#10;Description automatically generated">
            <a:extLst>
              <a:ext uri="{FF2B5EF4-FFF2-40B4-BE49-F238E27FC236}">
                <a16:creationId xmlns="" xmlns:a16="http://schemas.microsoft.com/office/drawing/2014/main" id="{A78D9B95-6126-B475-B59E-B8465CF28A5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9193" r="33439"/>
          <a:stretch/>
        </p:blipFill>
        <p:spPr>
          <a:xfrm>
            <a:off x="828001" y="1618178"/>
            <a:ext cx="3225114" cy="388372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28CAAF23-FE90-AABD-7471-7F5F336731D4}"/>
              </a:ext>
            </a:extLst>
          </p:cNvPr>
          <p:cNvSpPr txBox="1"/>
          <p:nvPr/>
        </p:nvSpPr>
        <p:spPr>
          <a:xfrm>
            <a:off x="4613927" y="5585423"/>
            <a:ext cx="29641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(Kudelski IoT Security Evaluations Lab)</a:t>
            </a:r>
          </a:p>
        </p:txBody>
      </p:sp>
      <p:pic>
        <p:nvPicPr>
          <p:cNvPr id="7" name="Picture 6" descr="A computer monitor with a purple screen&#10;&#10;Description automatically generated">
            <a:extLst>
              <a:ext uri="{FF2B5EF4-FFF2-40B4-BE49-F238E27FC236}">
                <a16:creationId xmlns="" xmlns:a16="http://schemas.microsoft.com/office/drawing/2014/main" id="{4DF15445-81E0-846D-E1C6-3180D361723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134" r="6997"/>
          <a:stretch/>
        </p:blipFill>
        <p:spPr>
          <a:xfrm>
            <a:off x="4129471" y="1618176"/>
            <a:ext cx="7238267" cy="3883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479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="" xmlns:a16="http://schemas.microsoft.com/office/drawing/2014/main" id="{950C71FA-31D6-E24E-82F0-93559BE56F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ces collec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 Placeholder 2">
                <a:extLst>
                  <a:ext uri="{FF2B5EF4-FFF2-40B4-BE49-F238E27FC236}">
                    <a16:creationId xmlns="" xmlns:a16="http://schemas.microsoft.com/office/drawing/2014/main" id="{8DC4B8A9-87F5-3C46-8C8C-5B396166EEC8}"/>
                  </a:ext>
                </a:extLst>
              </p:cNvPr>
              <p:cNvSpPr>
                <a:spLocks noGrp="1"/>
              </p:cNvSpPr>
              <p:nvPr>
                <p:ph type="body" sz="quarter" idx="10"/>
              </p:nvPr>
            </p:nvSpPr>
            <p:spPr>
              <a:xfrm>
                <a:off x="838200" y="1827607"/>
                <a:ext cx="7510975" cy="416190"/>
              </a:xfrm>
            </p:spPr>
            <p:txBody>
              <a:bodyPr/>
              <a:lstStyle/>
              <a:p>
                <a14:m>
                  <m:oMath xmlns:m="http://schemas.openxmlformats.org/officeDocument/2006/math">
                    <m:r>
                      <a:rPr lang="fr-CH" b="0" i="1" smtClean="0">
                        <a:latin typeface="Cambria Math" panose="02040503050406030204" pitchFamily="18" charset="0"/>
                      </a:rPr>
                      <m:t>160 </m:t>
                    </m:r>
                    <m:r>
                      <a:rPr lang="fr-CH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𝜇</m:t>
                    </m:r>
                    <m:r>
                      <a:rPr lang="fr-CH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𝑠</m:t>
                    </m:r>
                  </m:oMath>
                </a14:m>
                <a:r>
                  <a:rPr lang="en-US" dirty="0"/>
                  <a:t> @500Ms/s → 80 000 timepoints per trace</a:t>
                </a:r>
              </a:p>
            </p:txBody>
          </p:sp>
        </mc:Choice>
        <mc:Fallback xmlns="">
          <p:sp>
            <p:nvSpPr>
              <p:cNvPr id="3" name="Text Placeholder 2">
                <a:extLst>
                  <a:ext uri="{FF2B5EF4-FFF2-40B4-BE49-F238E27FC236}">
                    <a16:creationId xmlns:a16="http://schemas.microsoft.com/office/drawing/2014/main" xmlns:a14="http://schemas.microsoft.com/office/drawing/2010/main" xmlns="" id="{8DC4B8A9-87F5-3C46-8C8C-5B396166EEC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0"/>
              </p:nvPr>
            </p:nvSpPr>
            <p:spPr>
              <a:xfrm>
                <a:off x="838200" y="1827607"/>
                <a:ext cx="7510975" cy="416190"/>
              </a:xfrm>
              <a:blipFill rotWithShape="0">
                <a:blip r:embed="rId3"/>
                <a:stretch>
                  <a:fillRect t="-35294" r="-1542" b="-4558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EC1D3909-932D-1C4E-9F8F-1E77B13BBB3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US" dirty="0">
                <a:solidFill>
                  <a:schemeClr val="accent3"/>
                </a:solidFill>
              </a:rPr>
              <a:t>ATTACK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5C4050AC-ECF6-CC25-EC70-2C77D600FC0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427619" y="3026052"/>
            <a:ext cx="11324224" cy="286608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19C40F14-C46F-2BFA-47DD-10FA9AF7D8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62253" y="149092"/>
            <a:ext cx="2305873" cy="1990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212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="" xmlns:a16="http://schemas.microsoft.com/office/drawing/2014/main" id="{950C71FA-31D6-E24E-82F0-93559BE56F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3702" y="733007"/>
            <a:ext cx="5461698" cy="427578"/>
          </a:xfrm>
        </p:spPr>
        <p:txBody>
          <a:bodyPr/>
          <a:lstStyle/>
          <a:p>
            <a:r>
              <a:rPr lang="en-US" sz="2800" dirty="0"/>
              <a:t>Correlation Power Analysis [4]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5493701" y="487599"/>
            <a:ext cx="5460998" cy="198783"/>
          </a:xfrm>
        </p:spPr>
        <p:txBody>
          <a:bodyPr/>
          <a:lstStyle/>
          <a:p>
            <a:r>
              <a:rPr lang="en-US" dirty="0">
                <a:solidFill>
                  <a:schemeClr val="accent3"/>
                </a:solidFill>
              </a:rPr>
              <a:t>ATTACKS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="" xmlns:a16="http://schemas.microsoft.com/office/drawing/2014/main" id="{56D493A6-F826-2EC9-14A3-5C1E757C50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5999" y="516701"/>
            <a:ext cx="4326843" cy="5824597"/>
          </a:xfrm>
          <a:prstGeom prst="rect">
            <a:avLst/>
          </a:prstGeom>
        </p:spPr>
      </p:pic>
      <p:sp>
        <p:nvSpPr>
          <p:cNvPr id="31" name="Oval 30">
            <a:extLst>
              <a:ext uri="{FF2B5EF4-FFF2-40B4-BE49-F238E27FC236}">
                <a16:creationId xmlns="" xmlns:a16="http://schemas.microsoft.com/office/drawing/2014/main" id="{BCDC990E-B36C-ADEB-5D84-64BE6A1D91B8}"/>
              </a:ext>
            </a:extLst>
          </p:cNvPr>
          <p:cNvSpPr/>
          <p:nvPr/>
        </p:nvSpPr>
        <p:spPr>
          <a:xfrm>
            <a:off x="838198" y="1942291"/>
            <a:ext cx="1516668" cy="32378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D44E9C65-9F4E-28D0-CC6D-4F56B1FB3585}"/>
              </a:ext>
            </a:extLst>
          </p:cNvPr>
          <p:cNvSpPr txBox="1"/>
          <p:nvPr/>
        </p:nvSpPr>
        <p:spPr>
          <a:xfrm>
            <a:off x="6281225" y="277836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CH" dirty="0"/>
          </a:p>
        </p:txBody>
      </p:sp>
      <p:sp>
        <p:nvSpPr>
          <p:cNvPr id="10" name="Text Placeholder 2">
            <a:extLst>
              <a:ext uri="{FF2B5EF4-FFF2-40B4-BE49-F238E27FC236}">
                <a16:creationId xmlns="" xmlns:a16="http://schemas.microsoft.com/office/drawing/2014/main" id="{E088AC97-A97F-9B02-0A32-1FDECC768C08}"/>
              </a:ext>
            </a:extLst>
          </p:cNvPr>
          <p:cNvSpPr txBox="1">
            <a:spLocks/>
          </p:cNvSpPr>
          <p:nvPr/>
        </p:nvSpPr>
        <p:spPr bwMode="auto">
          <a:xfrm>
            <a:off x="5493701" y="1207210"/>
            <a:ext cx="6298359" cy="5134088"/>
          </a:xfrm>
          <a:custGeom>
            <a:avLst/>
            <a:gdLst>
              <a:gd name="connsiteX0" fmla="*/ 0 w 4149725"/>
              <a:gd name="connsiteY0" fmla="*/ 5143500 h 5143500"/>
              <a:gd name="connsiteX1" fmla="*/ 570919 w 4149725"/>
              <a:gd name="connsiteY1" fmla="*/ 0 h 5143500"/>
              <a:gd name="connsiteX2" fmla="*/ 4149725 w 4149725"/>
              <a:gd name="connsiteY2" fmla="*/ 0 h 5143500"/>
              <a:gd name="connsiteX3" fmla="*/ 3578806 w 4149725"/>
              <a:gd name="connsiteY3" fmla="*/ 5143500 h 5143500"/>
              <a:gd name="connsiteX4" fmla="*/ 0 w 4149725"/>
              <a:gd name="connsiteY4" fmla="*/ 5143500 h 5143500"/>
              <a:gd name="connsiteX0" fmla="*/ 7579 w 4157304"/>
              <a:gd name="connsiteY0" fmla="*/ 5143500 h 5143500"/>
              <a:gd name="connsiteX1" fmla="*/ 0 w 4157304"/>
              <a:gd name="connsiteY1" fmla="*/ 6220 h 5143500"/>
              <a:gd name="connsiteX2" fmla="*/ 4157304 w 4157304"/>
              <a:gd name="connsiteY2" fmla="*/ 0 h 5143500"/>
              <a:gd name="connsiteX3" fmla="*/ 3586385 w 4157304"/>
              <a:gd name="connsiteY3" fmla="*/ 5143500 h 5143500"/>
              <a:gd name="connsiteX4" fmla="*/ 7579 w 4157304"/>
              <a:gd name="connsiteY4" fmla="*/ 5143500 h 5143500"/>
              <a:gd name="connsiteX0" fmla="*/ 7579 w 4157304"/>
              <a:gd name="connsiteY0" fmla="*/ 5155941 h 5155941"/>
              <a:gd name="connsiteX1" fmla="*/ 0 w 4157304"/>
              <a:gd name="connsiteY1" fmla="*/ 0 h 5155941"/>
              <a:gd name="connsiteX2" fmla="*/ 4157304 w 4157304"/>
              <a:gd name="connsiteY2" fmla="*/ 12441 h 5155941"/>
              <a:gd name="connsiteX3" fmla="*/ 3586385 w 4157304"/>
              <a:gd name="connsiteY3" fmla="*/ 5155941 h 5155941"/>
              <a:gd name="connsiteX4" fmla="*/ 7579 w 4157304"/>
              <a:gd name="connsiteY4" fmla="*/ 5155941 h 5155941"/>
              <a:gd name="connsiteX0" fmla="*/ 7579 w 4157304"/>
              <a:gd name="connsiteY0" fmla="*/ 5143500 h 5143500"/>
              <a:gd name="connsiteX1" fmla="*/ 0 w 4157304"/>
              <a:gd name="connsiteY1" fmla="*/ 6220 h 5143500"/>
              <a:gd name="connsiteX2" fmla="*/ 4157304 w 4157304"/>
              <a:gd name="connsiteY2" fmla="*/ 0 h 5143500"/>
              <a:gd name="connsiteX3" fmla="*/ 3586385 w 4157304"/>
              <a:gd name="connsiteY3" fmla="*/ 5143500 h 5143500"/>
              <a:gd name="connsiteX4" fmla="*/ 7579 w 4157304"/>
              <a:gd name="connsiteY4" fmla="*/ 5143500 h 5143500"/>
              <a:gd name="connsiteX0" fmla="*/ 7579 w 4157304"/>
              <a:gd name="connsiteY0" fmla="*/ 5149721 h 5149721"/>
              <a:gd name="connsiteX1" fmla="*/ 0 w 4157304"/>
              <a:gd name="connsiteY1" fmla="*/ 0 h 5149721"/>
              <a:gd name="connsiteX2" fmla="*/ 4157304 w 4157304"/>
              <a:gd name="connsiteY2" fmla="*/ 6221 h 5149721"/>
              <a:gd name="connsiteX3" fmla="*/ 3586385 w 4157304"/>
              <a:gd name="connsiteY3" fmla="*/ 5149721 h 5149721"/>
              <a:gd name="connsiteX4" fmla="*/ 7579 w 4157304"/>
              <a:gd name="connsiteY4" fmla="*/ 5149721 h 5149721"/>
              <a:gd name="connsiteX0" fmla="*/ 7579 w 4157304"/>
              <a:gd name="connsiteY0" fmla="*/ 5143500 h 5143500"/>
              <a:gd name="connsiteX1" fmla="*/ 0 w 4157304"/>
              <a:gd name="connsiteY1" fmla="*/ 0 h 5143500"/>
              <a:gd name="connsiteX2" fmla="*/ 4157304 w 4157304"/>
              <a:gd name="connsiteY2" fmla="*/ 0 h 5143500"/>
              <a:gd name="connsiteX3" fmla="*/ 3586385 w 4157304"/>
              <a:gd name="connsiteY3" fmla="*/ 5143500 h 5143500"/>
              <a:gd name="connsiteX4" fmla="*/ 7579 w 4157304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57304" h="5143500">
                <a:moveTo>
                  <a:pt x="7579" y="5143500"/>
                </a:moveTo>
                <a:cubicBezTo>
                  <a:pt x="5053" y="3431073"/>
                  <a:pt x="2526" y="1712427"/>
                  <a:pt x="0" y="0"/>
                </a:cubicBezTo>
                <a:lnTo>
                  <a:pt x="4157304" y="0"/>
                </a:lnTo>
                <a:lnTo>
                  <a:pt x="3586385" y="5143500"/>
                </a:lnTo>
                <a:lnTo>
                  <a:pt x="7579" y="514350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lIns="0" tIns="0" rIns="0" bIns="0" rtlCol="0" anchor="t" anchorCtr="0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rgbClr val="494949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chemeClr val="accent3"/>
              </a:buClr>
              <a:buNone/>
            </a:pPr>
            <a:endParaRPr lang="en-US" dirty="0">
              <a:solidFill>
                <a:schemeClr val="tx2"/>
              </a:solidFill>
              <a:latin typeface="+mn-lt"/>
            </a:endParaRPr>
          </a:p>
          <a:p>
            <a:pPr>
              <a:buClr>
                <a:schemeClr val="accent3"/>
              </a:buClr>
            </a:pPr>
            <a:r>
              <a:rPr lang="en-US" dirty="0" smtClean="0">
                <a:solidFill>
                  <a:schemeClr val="tx2"/>
                </a:solidFill>
                <a:latin typeface="+mn-lt"/>
              </a:rPr>
              <a:t>Additions and S-boxes</a:t>
            </a:r>
          </a:p>
          <a:p>
            <a:pPr lvl="1">
              <a:buClr>
                <a:schemeClr val="accent3"/>
              </a:buClr>
            </a:pPr>
            <a:r>
              <a:rPr lang="en-GB" dirty="0" smtClean="0">
                <a:solidFill>
                  <a:schemeClr val="tx2"/>
                </a:solidFill>
              </a:rPr>
              <a:t>Efficiently </a:t>
            </a:r>
            <a:r>
              <a:rPr lang="en-GB" dirty="0" err="1" smtClean="0">
                <a:solidFill>
                  <a:schemeClr val="tx2"/>
                </a:solidFill>
              </a:rPr>
              <a:t>decryptable</a:t>
            </a:r>
            <a:r>
              <a:rPr lang="en-GB" dirty="0" smtClean="0">
                <a:solidFill>
                  <a:schemeClr val="tx2"/>
                </a:solidFill>
              </a:rPr>
              <a:t> </a:t>
            </a:r>
            <a:r>
              <a:rPr lang="en-GB" dirty="0" err="1" smtClean="0">
                <a:solidFill>
                  <a:schemeClr val="tx2"/>
                </a:solidFill>
              </a:rPr>
              <a:t>homomorphically</a:t>
            </a:r>
            <a:endParaRPr lang="en-US" dirty="0">
              <a:solidFill>
                <a:schemeClr val="tx2"/>
              </a:solidFill>
            </a:endParaRPr>
          </a:p>
          <a:p>
            <a:pPr>
              <a:buClr>
                <a:schemeClr val="accent3"/>
              </a:buClr>
            </a:pPr>
            <a:endParaRPr lang="en-US" dirty="0" smtClean="0">
              <a:solidFill>
                <a:schemeClr val="tx2"/>
              </a:solidFill>
              <a:latin typeface="+mn-lt"/>
            </a:endParaRPr>
          </a:p>
          <a:p>
            <a:pPr>
              <a:buClr>
                <a:schemeClr val="accent3"/>
              </a:buClr>
            </a:pPr>
            <a:r>
              <a:rPr lang="en-US" dirty="0" smtClean="0">
                <a:solidFill>
                  <a:schemeClr val="tx2"/>
                </a:solidFill>
                <a:latin typeface="+mn-lt"/>
              </a:rPr>
              <a:t>Recover element by element</a:t>
            </a:r>
          </a:p>
          <a:p>
            <a:pPr>
              <a:buClr>
                <a:schemeClr val="accent3"/>
              </a:buClr>
            </a:pPr>
            <a:r>
              <a:rPr lang="en-GB" dirty="0">
                <a:solidFill>
                  <a:schemeClr val="tx2"/>
                </a:solidFill>
                <a:latin typeface="+mn-lt"/>
              </a:rPr>
              <a:t>Revert RWS thanks to public IV</a:t>
            </a:r>
          </a:p>
          <a:p>
            <a:pPr>
              <a:buClr>
                <a:schemeClr val="accent3"/>
              </a:buClr>
            </a:pPr>
            <a:endParaRPr lang="en-US" dirty="0">
              <a:solidFill>
                <a:schemeClr val="tx2"/>
              </a:solidFill>
            </a:endParaRPr>
          </a:p>
          <a:p>
            <a:pPr>
              <a:buClr>
                <a:schemeClr val="accent3"/>
              </a:buClr>
            </a:pPr>
            <a:r>
              <a:rPr lang="en-US" dirty="0" smtClean="0">
                <a:solidFill>
                  <a:schemeClr val="tx2"/>
                </a:solidFill>
                <a:latin typeface="+mn-lt"/>
              </a:rPr>
              <a:t>Requires </a:t>
            </a:r>
            <a:r>
              <a:rPr lang="en-US" dirty="0">
                <a:solidFill>
                  <a:schemeClr val="tx2"/>
                </a:solidFill>
                <a:latin typeface="+mn-lt"/>
              </a:rPr>
              <a:t>35 000 traces to retrieve the entire key</a:t>
            </a:r>
          </a:p>
          <a:p>
            <a:pPr lvl="1">
              <a:buClr>
                <a:schemeClr val="accent3"/>
              </a:buClr>
            </a:pPr>
            <a:r>
              <a:rPr lang="en-US" dirty="0">
                <a:solidFill>
                  <a:schemeClr val="tx2"/>
                </a:solidFill>
              </a:rPr>
              <a:t>Only targeting one of the S-boxes’ </a:t>
            </a:r>
            <a:r>
              <a:rPr lang="en-US" dirty="0" smtClean="0">
                <a:solidFill>
                  <a:schemeClr val="tx2"/>
                </a:solidFill>
              </a:rPr>
              <a:t>output</a:t>
            </a:r>
          </a:p>
          <a:p>
            <a:pPr lvl="1">
              <a:buClr>
                <a:schemeClr val="accent3"/>
              </a:buClr>
            </a:pPr>
            <a:r>
              <a:rPr lang="en-GB" dirty="0" smtClean="0">
                <a:solidFill>
                  <a:schemeClr val="tx2"/>
                </a:solidFill>
              </a:rPr>
              <a:t>With 4-bit hypotheses on a 32-bit processor</a:t>
            </a:r>
            <a:endParaRPr lang="en-US" dirty="0">
              <a:solidFill>
                <a:schemeClr val="tx2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E0AC091D-FE97-F966-F7CF-46C81C0B6762}"/>
              </a:ext>
            </a:extLst>
          </p:cNvPr>
          <p:cNvGrpSpPr/>
          <p:nvPr/>
        </p:nvGrpSpPr>
        <p:grpSpPr>
          <a:xfrm>
            <a:off x="9782823" y="153734"/>
            <a:ext cx="2305873" cy="1990960"/>
            <a:chOff x="9662253" y="149092"/>
            <a:chExt cx="2305873" cy="1990960"/>
          </a:xfrm>
        </p:grpSpPr>
        <p:pic>
          <p:nvPicPr>
            <p:cNvPr id="3" name="Picture 2">
              <a:extLst>
                <a:ext uri="{FF2B5EF4-FFF2-40B4-BE49-F238E27FC236}">
                  <a16:creationId xmlns="" xmlns:a16="http://schemas.microsoft.com/office/drawing/2014/main" id="{826E8D19-161C-D503-824C-C9D999216F8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662253" y="149092"/>
              <a:ext cx="2305873" cy="1990960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="" xmlns:a16="http://schemas.microsoft.com/office/drawing/2014/main" id="{F35F4F18-BD98-231D-D823-AD8CB007B08C}"/>
                </a:ext>
              </a:extLst>
            </p:cNvPr>
            <p:cNvSpPr/>
            <p:nvPr/>
          </p:nvSpPr>
          <p:spPr>
            <a:xfrm>
              <a:off x="10369389" y="1304297"/>
              <a:ext cx="919041" cy="375972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H"/>
            </a:p>
          </p:txBody>
        </p:sp>
      </p:grp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98680C84-5810-BB93-72E2-5400547B3F4E}"/>
              </a:ext>
            </a:extLst>
          </p:cNvPr>
          <p:cNvSpPr txBox="1"/>
          <p:nvPr/>
        </p:nvSpPr>
        <p:spPr>
          <a:xfrm>
            <a:off x="838198" y="6324784"/>
            <a:ext cx="35016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/>
                </a:solidFill>
              </a:rPr>
              <a:t>[4] </a:t>
            </a:r>
            <a:r>
              <a:rPr lang="en-US" sz="1000" dirty="0">
                <a:solidFill>
                  <a:schemeClr val="tx2"/>
                </a:solidFill>
                <a:hlinkClick r:id="rId5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s://iacr.org/archive/ches2004/31560016/31560016.pdf</a:t>
            </a:r>
            <a:endParaRPr lang="en-US" sz="1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4416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ChlCHSREy7BXOBl89VVA"/>
</p:tagLst>
</file>

<file path=ppt/theme/theme1.xml><?xml version="1.0" encoding="utf-8"?>
<a:theme xmlns:a="http://schemas.openxmlformats.org/drawingml/2006/main" name="Kud_theme_v1.6">
  <a:themeElements>
    <a:clrScheme name="Custom 3">
      <a:dk1>
        <a:srgbClr val="202C55"/>
      </a:dk1>
      <a:lt1>
        <a:srgbClr val="FFFFFF"/>
      </a:lt1>
      <a:dk2>
        <a:srgbClr val="5B6770"/>
      </a:dk2>
      <a:lt2>
        <a:srgbClr val="F9F9F9"/>
      </a:lt2>
      <a:accent1>
        <a:srgbClr val="E73843"/>
      </a:accent1>
      <a:accent2>
        <a:srgbClr val="2CA3E6"/>
      </a:accent2>
      <a:accent3>
        <a:srgbClr val="FF6E09"/>
      </a:accent3>
      <a:accent4>
        <a:srgbClr val="FFFFFF"/>
      </a:accent4>
      <a:accent5>
        <a:srgbClr val="FFFFFF"/>
      </a:accent5>
      <a:accent6>
        <a:srgbClr val="FFFFFF"/>
      </a:accent6>
      <a:hlink>
        <a:srgbClr val="5B6670"/>
      </a:hlink>
      <a:folHlink>
        <a:srgbClr val="E6782B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udelski IoT PPT Template v5.2" id="{2B18AE73-0B34-B048-9AD2-D327269EA6B4}" vid="{BBB020AA-5611-0146-A127-7B7544FB802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6F3533466D9A4AA61A331B95D702CB" ma:contentTypeVersion="19" ma:contentTypeDescription="Create a new document." ma:contentTypeScope="" ma:versionID="be1694b044e2c355ac013ae522d6ba9a">
  <xsd:schema xmlns:xsd="http://www.w3.org/2001/XMLSchema" xmlns:xs="http://www.w3.org/2001/XMLSchema" xmlns:p="http://schemas.microsoft.com/office/2006/metadata/properties" xmlns:ns2="9b76928d-0116-4b44-a8cf-d87a7bad211d" xmlns:ns3="fb829baf-11ec-471a-a2bc-f8e2b361f5de" targetNamespace="http://schemas.microsoft.com/office/2006/metadata/properties" ma:root="true" ma:fieldsID="bd5a06d2ee465b3d208fa3d2c07cf61d" ns2:_="" ns3:_="">
    <xsd:import namespace="9b76928d-0116-4b44-a8cf-d87a7bad211d"/>
    <xsd:import namespace="fb829baf-11ec-471a-a2bc-f8e2b361f5d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3:TaxCatchAll" minOccurs="0"/>
                <xsd:element ref="ns2:lcf76f155ced4ddcb4097134ff3c332f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76928d-0116-4b44-a8cf-d87a7bad211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f699ab51-d6e2-45b1-97f7-f2b2905883f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829baf-11ec-471a-a2bc-f8e2b361f5d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a0ead856-d4e3-4818-ac72-81e0e9857f8e}" ma:internalName="TaxCatchAll" ma:showField="CatchAllData" ma:web="fb829baf-11ec-471a-a2bc-f8e2b361f5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b829baf-11ec-471a-a2bc-f8e2b361f5de" xsi:nil="true"/>
    <lcf76f155ced4ddcb4097134ff3c332f xmlns="9b76928d-0116-4b44-a8cf-d87a7bad211d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6CA8D75-1128-4868-874F-9B23CC29CD5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b76928d-0116-4b44-a8cf-d87a7bad211d"/>
    <ds:schemaRef ds:uri="fb829baf-11ec-471a-a2bc-f8e2b361f5d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20B01C2-8E22-420D-AD83-32889CCE5E94}">
  <ds:schemaRefs>
    <ds:schemaRef ds:uri="http://schemas.microsoft.com/office/infopath/2007/PartnerControls"/>
    <ds:schemaRef ds:uri="9b76928d-0116-4b44-a8cf-d87a7bad211d"/>
    <ds:schemaRef ds:uri="http://purl.org/dc/terms/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fb829baf-11ec-471a-a2bc-f8e2b361f5de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A10CA80-C1B4-4E5E-BA4F-0B45EC4E824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udelski IoT PPT Template v5.2</Template>
  <TotalTime>2936</TotalTime>
  <Words>1158</Words>
  <Application>Microsoft Office PowerPoint</Application>
  <PresentationFormat>Widescreen</PresentationFormat>
  <Paragraphs>477</Paragraphs>
  <Slides>24</Slides>
  <Notes>17</Notes>
  <HiddenSlides>8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7" baseType="lpstr">
      <vt:lpstr>ＭＳ Ｐゴシック</vt:lpstr>
      <vt:lpstr>Arial</vt:lpstr>
      <vt:lpstr>Calibri</vt:lpstr>
      <vt:lpstr>Calibri Light</vt:lpstr>
      <vt:lpstr>Cambria</vt:lpstr>
      <vt:lpstr>Cambria Math</vt:lpstr>
      <vt:lpstr>Helvetica Light</vt:lpstr>
      <vt:lpstr>Helvetica Light Oblique</vt:lpstr>
      <vt:lpstr>Times New Roman</vt:lpstr>
      <vt:lpstr>Wingdings</vt:lpstr>
      <vt:lpstr>Work Sans ExtraLight</vt:lpstr>
      <vt:lpstr>Kud_theme_v1.6</vt:lpstr>
      <vt:lpstr>think-cell Slide</vt:lpstr>
      <vt:lpstr>03/04/2025</vt:lpstr>
      <vt:lpstr>Table of Contents</vt:lpstr>
      <vt:lpstr>Context</vt:lpstr>
      <vt:lpstr>Hybrid Homomorphic Encryption</vt:lpstr>
      <vt:lpstr>Hybrid Homomorphic Encryption</vt:lpstr>
      <vt:lpstr>Elisabeth-b4 [3]</vt:lpstr>
      <vt:lpstr>Setup</vt:lpstr>
      <vt:lpstr>Traces collection</vt:lpstr>
      <vt:lpstr>Correlation Power Analysis [4]</vt:lpstr>
      <vt:lpstr>Correlation Power Analysis [4]</vt:lpstr>
      <vt:lpstr>Templates (Multivariate Gaussian) [5]</vt:lpstr>
      <vt:lpstr>Countermeasures: Leakage comparison and CPA</vt:lpstr>
      <vt:lpstr>Templates</vt:lpstr>
      <vt:lpstr>Deep Learning</vt:lpstr>
      <vt:lpstr>Defenses impact</vt:lpstr>
      <vt:lpstr>Conclusion &amp; Future Work</vt:lpstr>
      <vt:lpstr>Feature Reduction [13]</vt:lpstr>
      <vt:lpstr>Feature Reduction [13]</vt:lpstr>
      <vt:lpstr>PowerPoint Presentation</vt:lpstr>
      <vt:lpstr>PowerPoint Presentation</vt:lpstr>
      <vt:lpstr>PowerPoint Presentation</vt:lpstr>
      <vt:lpstr>Guessing entropies</vt:lpstr>
      <vt:lpstr>An innovative countermeasure</vt:lpstr>
      <vt:lpstr>Effects on leakage regions</vt:lpstr>
    </vt:vector>
  </TitlesOfParts>
  <Manager/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XX/XX/XXXX</dc:title>
  <dc:subject/>
  <dc:creator>Pierugo Pace</dc:creator>
  <cp:keywords/>
  <dc:description/>
  <cp:lastModifiedBy>Pierugo Pace</cp:lastModifiedBy>
  <cp:revision>348</cp:revision>
  <dcterms:created xsi:type="dcterms:W3CDTF">2024-04-16T08:40:16Z</dcterms:created>
  <dcterms:modified xsi:type="dcterms:W3CDTF">2025-04-03T16:16:4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6F3533466D9A4AA61A331B95D702CB</vt:lpwstr>
  </property>
  <property fmtid="{D5CDD505-2E9C-101B-9397-08002B2CF9AE}" pid="3" name="MSIP_Label_e5d45f1b-bd49-4758-aadb-0fb229309946_Enabled">
    <vt:lpwstr>true</vt:lpwstr>
  </property>
  <property fmtid="{D5CDD505-2E9C-101B-9397-08002B2CF9AE}" pid="4" name="MSIP_Label_e5d45f1b-bd49-4758-aadb-0fb229309946_SetDate">
    <vt:lpwstr>2025-01-20T09:26:56Z</vt:lpwstr>
  </property>
  <property fmtid="{D5CDD505-2E9C-101B-9397-08002B2CF9AE}" pid="5" name="MSIP_Label_e5d45f1b-bd49-4758-aadb-0fb229309946_Method">
    <vt:lpwstr>Privileged</vt:lpwstr>
  </property>
  <property fmtid="{D5CDD505-2E9C-101B-9397-08002B2CF9AE}" pid="6" name="MSIP_Label_e5d45f1b-bd49-4758-aadb-0fb229309946_Name">
    <vt:lpwstr>Intern</vt:lpwstr>
  </property>
  <property fmtid="{D5CDD505-2E9C-101B-9397-08002B2CF9AE}" pid="7" name="MSIP_Label_e5d45f1b-bd49-4758-aadb-0fb229309946_SiteId">
    <vt:lpwstr>026057f4-2082-4f1e-8d04-3410acf953b4</vt:lpwstr>
  </property>
  <property fmtid="{D5CDD505-2E9C-101B-9397-08002B2CF9AE}" pid="8" name="MSIP_Label_e5d45f1b-bd49-4758-aadb-0fb229309946_ActionId">
    <vt:lpwstr>331899d0-0082-4717-86c5-ff63fb0c0d32</vt:lpwstr>
  </property>
  <property fmtid="{D5CDD505-2E9C-101B-9397-08002B2CF9AE}" pid="9" name="MSIP_Label_e5d45f1b-bd49-4758-aadb-0fb229309946_ContentBits">
    <vt:lpwstr>0</vt:lpwstr>
  </property>
  <property fmtid="{D5CDD505-2E9C-101B-9397-08002B2CF9AE}" pid="10" name="MSIP_Label_e5d45f1b-bd49-4758-aadb-0fb229309946_Tag">
    <vt:lpwstr>50, 0, 1, 1</vt:lpwstr>
  </property>
</Properties>
</file>